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6" r:id="rId2"/>
  </p:sldMasterIdLst>
  <p:notesMasterIdLst>
    <p:notesMasterId r:id="rId14"/>
  </p:notesMasterIdLst>
  <p:sldIdLst>
    <p:sldId id="259" r:id="rId3"/>
    <p:sldId id="1679" r:id="rId4"/>
    <p:sldId id="1686" r:id="rId5"/>
    <p:sldId id="1680" r:id="rId6"/>
    <p:sldId id="1681" r:id="rId7"/>
    <p:sldId id="1682" r:id="rId8"/>
    <p:sldId id="1687" r:id="rId9"/>
    <p:sldId id="1684" r:id="rId10"/>
    <p:sldId id="1688" r:id="rId11"/>
    <p:sldId id="1685" r:id="rId12"/>
    <p:sldId id="1689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79978" autoAdjust="0"/>
  </p:normalViewPr>
  <p:slideViewPr>
    <p:cSldViewPr snapToGrid="0">
      <p:cViewPr varScale="1">
        <p:scale>
          <a:sx n="96" d="100"/>
          <a:sy n="96" d="100"/>
        </p:scale>
        <p:origin x="115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0DDF98-841D-43D4-8696-6999D9F352C1}" type="datetimeFigureOut">
              <a:rPr lang="ru-RU" smtClean="0"/>
              <a:t>27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917A19-80D7-4625-9CEF-D3F6A706D7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187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) Уважаемые члены государственной аттестационной комиссии</a:t>
            </a:r>
          </a:p>
          <a:p>
            <a:r>
              <a:rPr lang="ru-RU" dirty="0"/>
              <a:t>2) Тема работы (назвать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9121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Точность распознавания равную 72 %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При увеличении количества и качества данных качество на метриках повысится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.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В качестве результирующей информации по рабочим используется агрегация по распознанным меткам класса отдельных рабочих (справа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Он состоит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из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: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служебной информации (информации </a:t>
            </a:r>
            <a:r>
              <a:rPr lang="ru-RU" sz="120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о рабочем)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словаря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количественная характеристики меток класса 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гистограммы на ее основе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.</a:t>
            </a:r>
          </a:p>
          <a:p>
            <a:pPr marL="0" lvl="1" indent="0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None/>
            </a:pP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интеграции предложенного решения повысится эффективности процессов мониторинга и управления целенаправленной физической активностью людей в части сокращения времени на получение репрезентативной информации, описывающей такую физическую активность. </a:t>
            </a:r>
          </a:p>
          <a:p>
            <a:pPr marL="0" lvl="1" indent="0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None/>
            </a:pP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роме того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ыли рассмотрены модели 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andom forest </a:t>
            </a: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en-US" sz="1200" b="0" i="0" dirty="0" err="1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atboost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 задаче идентификации целенаправленной физической активности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чего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асколько мне известно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 происходило ранее</a:t>
            </a:r>
            <a:r>
              <a:rPr lang="en-US" sz="12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94996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Попрощатьс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819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None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 Тема -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1" indent="0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None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кого решается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департамент информационных технологий г. Москвы</a:t>
            </a:r>
            <a:endParaRPr lang="en-US" b="0" i="0" dirty="0">
              <a:solidFill>
                <a:srgbClr val="242424"/>
              </a:solidFill>
              <a:effectLst/>
              <a:latin typeface="-apple-system"/>
            </a:endParaRPr>
          </a:p>
          <a:p>
            <a:pPr marL="0" lvl="1" indent="0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None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тика</a:t>
            </a:r>
          </a:p>
          <a:p>
            <a:r>
              <a:rPr lang="ru-RU" dirty="0"/>
              <a:t>При увеличении производственных мощностей мониторинг целенаправленной физической активности становится осуществлять крайне сложно</a:t>
            </a:r>
            <a:r>
              <a:rPr lang="en-US" dirty="0"/>
              <a:t>, </a:t>
            </a:r>
            <a:r>
              <a:rPr lang="ru-RU" dirty="0"/>
              <a:t>так как увеличивается количество рабочих и производственные работы могут быть территориально распределены</a:t>
            </a:r>
            <a:r>
              <a:rPr lang="en-US" dirty="0"/>
              <a:t>. </a:t>
            </a:r>
            <a:r>
              <a:rPr lang="ru-RU" dirty="0"/>
              <a:t>В результате некоторые рабочие могут отклоняться от своих должностных обязанностей</a:t>
            </a:r>
            <a:r>
              <a:rPr lang="en-US" dirty="0"/>
              <a:t> </a:t>
            </a:r>
            <a:r>
              <a:rPr lang="ru-RU" dirty="0"/>
              <a:t>или неправильно интерпретировать производственные задания</a:t>
            </a:r>
            <a:r>
              <a:rPr lang="en-US" dirty="0"/>
              <a:t>, </a:t>
            </a:r>
            <a:r>
              <a:rPr lang="ru-RU" dirty="0"/>
              <a:t>что ведет к потерям для компании</a:t>
            </a:r>
            <a:r>
              <a:rPr lang="en-US" dirty="0"/>
              <a:t>.</a:t>
            </a:r>
            <a:endParaRPr lang="ru-RU" dirty="0"/>
          </a:p>
          <a:p>
            <a:r>
              <a:rPr lang="ru-RU" dirty="0"/>
              <a:t>Предлагаемой решение (состоит)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697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 В качестве предметной области выступает процесс управления целенаправленной физической активностью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Он включает в себя рабочие процессы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Raleway"/>
              </a:rPr>
              <a:t>в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 которых используется физический труд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. 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3) Распределение ролей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обобщенность рассматриваемого процесса для различных экономических областей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4) В случае неэффективной работы процесса мониторинга рабочие могут сильно отдаляться от поставленного производственного плана</a:t>
            </a:r>
            <a:r>
              <a:rPr lang="ru-RU" sz="120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  <a:sym typeface="Raleway"/>
              </a:rPr>
              <a:t> и результаты производственных работ будут попадать к руководителям средних и высших звеньев</a:t>
            </a:r>
            <a:r>
              <a:rPr lang="en-US" sz="120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  <a:sym typeface="Raleway"/>
              </a:rPr>
              <a:t>, </a:t>
            </a:r>
            <a:r>
              <a:rPr lang="ru-RU" sz="120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  <a:sym typeface="Raleway"/>
              </a:rPr>
              <a:t>что замедлит производство в цело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67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ля осуществления поставленной цели в качестве входной информации используется телеметрия с умных-часов</a:t>
            </a:r>
            <a:r>
              <a:rPr lang="en-US" dirty="0"/>
              <a:t>.</a:t>
            </a:r>
            <a:r>
              <a:rPr lang="ru-RU" dirty="0"/>
              <a:t> Они использовались во время настоящих производственных работ</a:t>
            </a:r>
            <a:r>
              <a:rPr lang="en-US" dirty="0"/>
              <a:t>.</a:t>
            </a: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ассказать о диаграммах</a:t>
            </a:r>
            <a:r>
              <a:rPr lang="en-US" dirty="0"/>
              <a:t> (</a:t>
            </a:r>
            <a:r>
              <a:rPr lang="ru-RU" dirty="0"/>
              <a:t>общий вид</a:t>
            </a:r>
            <a:r>
              <a:rPr lang="en-US" dirty="0"/>
              <a:t>)</a:t>
            </a:r>
            <a:r>
              <a:rPr lang="ru-RU" dirty="0"/>
              <a:t> (без/с программным решением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 результатам работы программного решения формируется </a:t>
            </a:r>
            <a:r>
              <a:rPr lang="ru-RU" sz="1200" dirty="0">
                <a:solidFill>
                  <a:schemeClr val="tx2"/>
                </a:solidFill>
              </a:rPr>
              <a:t>репрезентативная информация о рабочей активности</a:t>
            </a:r>
            <a:r>
              <a:rPr lang="en-US" sz="1200" dirty="0">
                <a:solidFill>
                  <a:schemeClr val="tx2"/>
                </a:solidFill>
              </a:rPr>
              <a:t>, </a:t>
            </a:r>
            <a:r>
              <a:rPr lang="ru-RU" sz="1200" dirty="0">
                <a:solidFill>
                  <a:schemeClr val="tx2"/>
                </a:solidFill>
              </a:rPr>
              <a:t>которая используется управляющими низшего звена для контроля производственных процессов</a:t>
            </a:r>
            <a:r>
              <a:rPr lang="en-US" sz="1200" dirty="0">
                <a:solidFill>
                  <a:schemeClr val="tx2"/>
                </a:solidFill>
              </a:rPr>
              <a:t>.</a:t>
            </a:r>
            <a:endParaRPr lang="en-US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618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граммное решение включает в себя классификационную модель машинного обучения</a:t>
            </a:r>
            <a:r>
              <a:rPr lang="en-US" dirty="0"/>
              <a:t>, </a:t>
            </a:r>
            <a:r>
              <a:rPr lang="ru-RU" dirty="0"/>
              <a:t>которая распознает кодировку</a:t>
            </a:r>
            <a:r>
              <a:rPr lang="en-US" dirty="0"/>
              <a:t>.</a:t>
            </a:r>
          </a:p>
          <a:p>
            <a:r>
              <a:rPr lang="ru-RU" dirty="0"/>
              <a:t>Кодировка данных была (разметка) была осуществленная вручную и представлена под вариантом 1</a:t>
            </a:r>
            <a:r>
              <a:rPr lang="en-US" dirty="0"/>
              <a:t> </a:t>
            </a:r>
            <a:r>
              <a:rPr lang="ru-RU" dirty="0"/>
              <a:t>изначально</a:t>
            </a:r>
            <a:r>
              <a:rPr lang="en-US" dirty="0"/>
              <a:t>.</a:t>
            </a:r>
            <a:endParaRPr lang="ru-RU" dirty="0"/>
          </a:p>
          <a:p>
            <a:r>
              <a:rPr lang="ru-RU" dirty="0"/>
              <a:t>В ходе обсуждения работы с научным руководителем было решено перекодировать метки классов </a:t>
            </a:r>
            <a:r>
              <a:rPr lang="ru-RU" sz="1200" dirty="0">
                <a:solidFill>
                  <a:schemeClr val="tx2"/>
                </a:solidFill>
              </a:rPr>
              <a:t>с целью большей</a:t>
            </a:r>
          </a:p>
          <a:p>
            <a:r>
              <a:rPr lang="ru-RU" sz="1200" dirty="0">
                <a:solidFill>
                  <a:schemeClr val="tx2"/>
                </a:solidFill>
              </a:rPr>
              <a:t>унификации предлагаемого решения для различных экономических областей</a:t>
            </a:r>
            <a:r>
              <a:rPr lang="en-US" sz="1200" dirty="0">
                <a:solidFill>
                  <a:schemeClr val="tx2"/>
                </a:solidFill>
              </a:rPr>
              <a:t>, </a:t>
            </a:r>
            <a:r>
              <a:rPr lang="ru-RU" sz="1200" dirty="0">
                <a:solidFill>
                  <a:schemeClr val="tx2"/>
                </a:solidFill>
              </a:rPr>
              <a:t>в которых предприятия могут функционировать</a:t>
            </a:r>
            <a:r>
              <a:rPr lang="en-US" sz="1200" dirty="0">
                <a:solidFill>
                  <a:schemeClr val="tx2"/>
                </a:solidFill>
              </a:rPr>
              <a:t>. </a:t>
            </a:r>
            <a:endParaRPr lang="ru-RU" sz="1200" dirty="0">
              <a:solidFill>
                <a:schemeClr val="tx2"/>
              </a:solidFill>
            </a:endParaRPr>
          </a:p>
          <a:p>
            <a:r>
              <a:rPr lang="ru-RU" sz="1200" dirty="0">
                <a:solidFill>
                  <a:schemeClr val="tx2"/>
                </a:solidFill>
              </a:rPr>
              <a:t>Для разработки программного обеспечения был выбран второй вариант кодировки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3102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остроения наилучшей модели идентификации целенаправленной физической активности была проведена работа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ная на определение потенциальных возможностей применения алгоритмов машинного обучения и обработки к телеметри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предметной области в целом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этой работы использовались все представленные математические модели обработки данных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Q-Q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– анализ данных и соответствия распределения нормальному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Train, test, valid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выборки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One-line encoder –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кодировка строк числами для передачи модели машинного обучения</a:t>
            </a:r>
            <a:endParaRPr lang="en-US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Агрегация данных и генерация признаков (технические источники)</a:t>
            </a:r>
            <a:endParaRPr lang="en-US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Также для оценки качества модели использовались следующие метрик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: accuracy, precision, f1-score, confusion-matrix, recall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Для построения программного решения были использованы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Агрегация данных и генерация признаков (технические источники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One-line encoder –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кодировка строк числами для передачи модели машинного обучения</a:t>
            </a:r>
            <a:endParaRPr lang="en-US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FF0000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Удаление столбцов будет происходить на основании первичного анализа данных и удаляться будет исключительно признаки</a:t>
            </a:r>
            <a:r>
              <a:rPr lang="en-US" sz="1200" dirty="0">
                <a:solidFill>
                  <a:srgbClr val="FF0000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, </a:t>
            </a:r>
            <a:r>
              <a:rPr lang="ru-RU" sz="1200" dirty="0">
                <a:solidFill>
                  <a:srgbClr val="FF0000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непригодные для модели машинного обу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5060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одель ходе решения задачи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определения наилучшего способа построения программного решения сравнивались 2 алгоритма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:</a:t>
            </a:r>
          </a:p>
          <a:p>
            <a:pPr marL="228600" indent="-228600">
              <a:buAutoNum type="arabicParenR"/>
            </a:pP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CatBoost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Классификатор (потенциально лучшая реализация градиентного бустинга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нету работ по повышению уровня автоматизации мониторинга с этим алгоритмом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интересно сравнить)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особенности математические</a:t>
            </a:r>
          </a:p>
          <a:p>
            <a:pPr marL="228600" indent="-228600">
              <a:buAutoNum type="arabicParenR"/>
            </a:pP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Random Forest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классификатор (одна из лучших моделей для классификации рабочей активности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на основании на основании научно-технических источников)</a:t>
            </a:r>
          </a:p>
          <a:p>
            <a:pPr marL="0" indent="0">
              <a:buNone/>
            </a:pP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Лучше показал себя 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Random Forest </a:t>
            </a: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классификатор</a:t>
            </a:r>
          </a:p>
          <a:p>
            <a:pPr marL="0" indent="0">
              <a:buNone/>
            </a:pPr>
            <a:r>
              <a:rPr lang="ru-RU" b="0" i="0" dirty="0">
                <a:solidFill>
                  <a:srgbClr val="242424"/>
                </a:solidFill>
                <a:effectLst/>
                <a:latin typeface="-apple-system"/>
              </a:rPr>
              <a:t>Представлены математические особенности модели </a:t>
            </a: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Random Forest</a:t>
            </a:r>
            <a:endParaRPr lang="ru-RU" b="0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1910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слайде представлена программная реализация поиска наилучшего решения из рассматриваемого списка (снизу) и результаты анализа данных (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ху)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к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емые в обучени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г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дечный ритм и ускорение кисти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ги представляют собой временной ряд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приемлемо для использовании в обучении и было обработано с целью извлечения полезной информации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-Q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фике сердечного ритма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уть меньше половины значений одинаковые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плохо сказывается на обучении моделей (горизонтальная синяя линяя)</a:t>
            </a:r>
            <a:endParaRPr lang="en-US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тикальная ось – наблюдаемые значения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изонтальная ось – ожидаемые значения (если данные были бы распределены нормально)</a:t>
            </a:r>
            <a:endParaRPr lang="en-US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результатам анализа можно сделать вывод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данные сырые и содержат много аномалий</a:t>
            </a:r>
            <a:r>
              <a:rPr lang="en-US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76853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</a:rPr>
              <a:t>Представлен алгоритм реализации программного решения и способ его функционирования в предметной области</a:t>
            </a:r>
            <a:r>
              <a:rPr lang="en-US" sz="1200" dirty="0">
                <a:solidFill>
                  <a:schemeClr val="tx2"/>
                </a:solidFill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</a:rPr>
              <a:t>Программный код сериализируется</a:t>
            </a:r>
            <a:r>
              <a:rPr lang="en-US" sz="1200" dirty="0">
                <a:solidFill>
                  <a:schemeClr val="tx2"/>
                </a:solidFill>
              </a:rPr>
              <a:t>, </a:t>
            </a:r>
            <a:r>
              <a:rPr lang="ru-RU" sz="1200" dirty="0">
                <a:solidFill>
                  <a:schemeClr val="tx2"/>
                </a:solidFill>
              </a:rPr>
              <a:t>помещается в докер на сервере </a:t>
            </a:r>
            <a:r>
              <a:rPr lang="en-US" sz="1200" dirty="0">
                <a:solidFill>
                  <a:schemeClr val="tx2"/>
                </a:solidFill>
              </a:rPr>
              <a:t>(Apache Hadoop, Spark), </a:t>
            </a:r>
            <a:r>
              <a:rPr lang="ru-RU" sz="1200" dirty="0">
                <a:solidFill>
                  <a:schemeClr val="tx2"/>
                </a:solidFill>
              </a:rPr>
              <a:t>десериализиуется и работает в автоматическом режим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17A19-80D7-4625-9CEF-D3F6A706D71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718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-1"/>
            <a:ext cx="12195835" cy="6855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sp>
        <p:nvSpPr>
          <p:cNvPr id="9" name="Название 8"/>
          <p:cNvSpPr>
            <a:spLocks noGrp="1"/>
          </p:cNvSpPr>
          <p:nvPr>
            <p:ph type="title"/>
          </p:nvPr>
        </p:nvSpPr>
        <p:spPr>
          <a:xfrm>
            <a:off x="2504869" y="3917380"/>
            <a:ext cx="8418001" cy="1632242"/>
          </a:xfrm>
        </p:spPr>
        <p:txBody>
          <a:bodyPr/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504866" y="5712846"/>
            <a:ext cx="8418001" cy="816121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907">
                <a:solidFill>
                  <a:schemeClr val="bg1"/>
                </a:solidFill>
              </a:defRPr>
            </a:lvl1pPr>
            <a:lvl2pPr marL="47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1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9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2504869" y="1632242"/>
            <a:ext cx="8418001" cy="19586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grpSp>
        <p:nvGrpSpPr>
          <p:cNvPr id="27" name="Группа 26"/>
          <p:cNvGrpSpPr/>
          <p:nvPr userDrawn="1"/>
        </p:nvGrpSpPr>
        <p:grpSpPr>
          <a:xfrm>
            <a:off x="8048430" y="1795466"/>
            <a:ext cx="4147405" cy="1795466"/>
            <a:chOff x="7056000" y="1980000"/>
            <a:chExt cx="3636000" cy="1980000"/>
          </a:xfrm>
        </p:grpSpPr>
        <p:sp>
          <p:nvSpPr>
            <p:cNvPr id="12" name="Прямоугольник 11"/>
            <p:cNvSpPr/>
            <p:nvPr userDrawn="1"/>
          </p:nvSpPr>
          <p:spPr>
            <a:xfrm>
              <a:off x="7056000" y="1980000"/>
              <a:ext cx="540000" cy="1980000"/>
            </a:xfrm>
            <a:prstGeom prst="rect">
              <a:avLst/>
            </a:prstGeom>
            <a:solidFill>
              <a:srgbClr val="CFEAF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7596000" y="1980000"/>
              <a:ext cx="900000" cy="1980000"/>
            </a:xfrm>
            <a:prstGeom prst="rect">
              <a:avLst/>
            </a:prstGeom>
            <a:solidFill>
              <a:srgbClr val="BBE4F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8496000" y="1980000"/>
              <a:ext cx="180000" cy="1980000"/>
            </a:xfrm>
            <a:prstGeom prst="rect">
              <a:avLst/>
            </a:prstGeom>
            <a:solidFill>
              <a:srgbClr val="9FDAF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8676000" y="1980000"/>
              <a:ext cx="900000" cy="1980000"/>
            </a:xfrm>
            <a:prstGeom prst="rect">
              <a:avLst/>
            </a:prstGeom>
            <a:solidFill>
              <a:srgbClr val="81D0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9576000" y="1980000"/>
              <a:ext cx="1116000" cy="1980000"/>
            </a:xfrm>
            <a:prstGeom prst="rect">
              <a:avLst/>
            </a:prstGeom>
            <a:solidFill>
              <a:srgbClr val="5EC6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grpSp>
        <p:nvGrpSpPr>
          <p:cNvPr id="28" name="Группа 27"/>
          <p:cNvGrpSpPr/>
          <p:nvPr userDrawn="1"/>
        </p:nvGrpSpPr>
        <p:grpSpPr>
          <a:xfrm>
            <a:off x="2504869" y="1469018"/>
            <a:ext cx="5543561" cy="163224"/>
            <a:chOff x="2196000" y="1620000"/>
            <a:chExt cx="4860000" cy="180000"/>
          </a:xfrm>
        </p:grpSpPr>
        <p:sp>
          <p:nvSpPr>
            <p:cNvPr id="18" name="Прямоугольник 17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1" name="Прямоугольник 20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32" name="Рисунок 31"/>
          <p:cNvSpPr>
            <a:spLocks noGrp="1"/>
          </p:cNvSpPr>
          <p:nvPr>
            <p:ph type="pic" sz="quarter" idx="10"/>
          </p:nvPr>
        </p:nvSpPr>
        <p:spPr>
          <a:xfrm>
            <a:off x="2504868" y="1796554"/>
            <a:ext cx="7186098" cy="1795466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4084" y="424706"/>
            <a:ext cx="2153551" cy="804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81371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4"/>
          </p:nvPr>
        </p:nvSpPr>
        <p:spPr>
          <a:xfrm>
            <a:off x="1272966" y="2774811"/>
            <a:ext cx="9649903" cy="3754156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607537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5" name="Рисунок 8"/>
          <p:cNvSpPr>
            <a:spLocks noGrp="1"/>
          </p:cNvSpPr>
          <p:nvPr>
            <p:ph type="pic" sz="quarter" idx="14"/>
          </p:nvPr>
        </p:nvSpPr>
        <p:spPr>
          <a:xfrm>
            <a:off x="1272966" y="1796555"/>
            <a:ext cx="9649903" cy="4732413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11378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азвание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86" b="1"/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12" name="Таблица 11"/>
          <p:cNvSpPr>
            <a:spLocks noGrp="1"/>
          </p:cNvSpPr>
          <p:nvPr>
            <p:ph type="tbl" sz="quarter" idx="14"/>
          </p:nvPr>
        </p:nvSpPr>
        <p:spPr>
          <a:xfrm>
            <a:off x="1272966" y="2775446"/>
            <a:ext cx="9649903" cy="3754156"/>
          </a:xfrm>
        </p:spPr>
        <p:txBody>
          <a:bodyPr/>
          <a:lstStyle/>
          <a:p>
            <a:r>
              <a:rPr lang="en-US" dirty="0" err="1"/>
              <a:t>Щелкните</a:t>
            </a:r>
            <a:r>
              <a:rPr lang="en-US" dirty="0"/>
              <a:t> </a:t>
            </a:r>
            <a:r>
              <a:rPr lang="en-US" dirty="0" err="1"/>
              <a:t>значок</a:t>
            </a:r>
            <a:r>
              <a:rPr lang="en-US" dirty="0"/>
              <a:t>, </a:t>
            </a:r>
            <a:r>
              <a:rPr lang="en-US" dirty="0" err="1"/>
              <a:t>чтобы</a:t>
            </a:r>
            <a:r>
              <a:rPr lang="en-US" dirty="0"/>
              <a:t> </a:t>
            </a:r>
            <a:r>
              <a:rPr lang="en-US" dirty="0" err="1"/>
              <a:t>добавить</a:t>
            </a:r>
            <a:r>
              <a:rPr lang="en-US" dirty="0"/>
              <a:t> </a:t>
            </a:r>
            <a:r>
              <a:rPr lang="en-US" dirty="0" err="1"/>
              <a:t>таблиц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462250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линейн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5712846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15" name="Диаграмма 14"/>
          <p:cNvSpPr>
            <a:spLocks noGrp="1"/>
          </p:cNvSpPr>
          <p:nvPr>
            <p:ph type="chart" sz="quarter" idx="14"/>
          </p:nvPr>
        </p:nvSpPr>
        <p:spPr>
          <a:xfrm>
            <a:off x="1272966" y="1795466"/>
            <a:ext cx="9649903" cy="3754156"/>
          </a:xfrm>
        </p:spPr>
        <p:txBody>
          <a:bodyPr/>
          <a:lstStyle/>
          <a:p>
            <a:r>
              <a:rPr lang="en-US"/>
              <a:t>Щелкните значок, чтобы добавить диаграмму</a:t>
            </a:r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54656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кругов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4722293" cy="65289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12" name="Диаграмма 14"/>
          <p:cNvSpPr>
            <a:spLocks noGrp="1"/>
          </p:cNvSpPr>
          <p:nvPr>
            <p:ph type="chart" sz="quarter" idx="14"/>
          </p:nvPr>
        </p:nvSpPr>
        <p:spPr>
          <a:xfrm>
            <a:off x="1272966" y="2611586"/>
            <a:ext cx="4722293" cy="3917380"/>
          </a:xfrm>
        </p:spPr>
        <p:txBody>
          <a:bodyPr/>
          <a:lstStyle/>
          <a:p>
            <a:r>
              <a:rPr lang="en-US"/>
              <a:t>Щелкните значок, чтобы добавить диаграмму</a:t>
            </a:r>
            <a:endParaRPr lang="ru-RU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5"/>
          </p:nvPr>
        </p:nvSpPr>
        <p:spPr>
          <a:xfrm>
            <a:off x="6200577" y="1796552"/>
            <a:ext cx="4722293" cy="473350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325180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ерарх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17" name="Рисунок SmartArt 16"/>
          <p:cNvSpPr>
            <a:spLocks noGrp="1"/>
          </p:cNvSpPr>
          <p:nvPr>
            <p:ph type="dgm" sz="quarter" idx="14"/>
          </p:nvPr>
        </p:nvSpPr>
        <p:spPr>
          <a:xfrm>
            <a:off x="1272966" y="2775446"/>
            <a:ext cx="9649903" cy="3754156"/>
          </a:xfrm>
        </p:spPr>
        <p:txBody>
          <a:bodyPr/>
          <a:lstStyle/>
          <a:p>
            <a:r>
              <a:rPr lang="en-US"/>
              <a:t>Щелкните значок, чтобы добавить рисунок SmartArt</a:t>
            </a:r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967614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269359" y="328218"/>
            <a:ext cx="1477599" cy="77259"/>
          </a:xfrm>
        </p:spPr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272966" y="6692192"/>
            <a:ext cx="5543561" cy="163224"/>
            <a:chOff x="2196000" y="1620000"/>
            <a:chExt cx="4860000" cy="180000"/>
          </a:xfrm>
        </p:grpSpPr>
        <p:sp>
          <p:nvSpPr>
            <p:cNvPr id="6" name="Прямоугольник 5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7" name="Прямоугольник 6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8" name="Прямоугольник 7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9" name="Прямоугольник 8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0" name="Прямоугольник 9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9318" y="5997973"/>
            <a:ext cx="1517681" cy="567072"/>
          </a:xfrm>
          <a:prstGeom prst="rect">
            <a:avLst/>
          </a:prstGeom>
        </p:spPr>
      </p:pic>
      <p:sp>
        <p:nvSpPr>
          <p:cNvPr id="18" name="Номер слайда 4"/>
          <p:cNvSpPr txBox="1">
            <a:spLocks/>
          </p:cNvSpPr>
          <p:nvPr userDrawn="1"/>
        </p:nvSpPr>
        <p:spPr>
          <a:xfrm>
            <a:off x="11165415" y="328218"/>
            <a:ext cx="684048" cy="7725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ru-RU"/>
            </a:defPPr>
            <a:lvl1pPr marL="0" algn="r" defTabSz="521437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331ACC1-413D-FE48-B4EE-A9FEDC87FF37}" type="slidenum">
              <a:rPr lang="ru-RU" sz="725" smtClean="0"/>
              <a:pPr/>
              <a:t>‹#›</a:t>
            </a:fld>
            <a:endParaRPr lang="ru-RU" sz="725" dirty="0"/>
          </a:p>
        </p:txBody>
      </p:sp>
    </p:spTree>
    <p:extLst>
      <p:ext uri="{BB962C8B-B14F-4D97-AF65-F5344CB8AC3E}">
        <p14:creationId xmlns:p14="http://schemas.microsoft.com/office/powerpoint/2010/main" val="268437640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-1"/>
            <a:ext cx="12195835" cy="6855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sp>
        <p:nvSpPr>
          <p:cNvPr id="9" name="Название 8"/>
          <p:cNvSpPr>
            <a:spLocks noGrp="1"/>
          </p:cNvSpPr>
          <p:nvPr>
            <p:ph type="title"/>
          </p:nvPr>
        </p:nvSpPr>
        <p:spPr>
          <a:xfrm>
            <a:off x="2504869" y="3917380"/>
            <a:ext cx="8418001" cy="1632242"/>
          </a:xfrm>
        </p:spPr>
        <p:txBody>
          <a:bodyPr/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504866" y="5712846"/>
            <a:ext cx="8418001" cy="816121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907">
                <a:solidFill>
                  <a:schemeClr val="bg1"/>
                </a:solidFill>
              </a:defRPr>
            </a:lvl1pPr>
            <a:lvl2pPr marL="47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1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9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2504869" y="1632242"/>
            <a:ext cx="8418001" cy="19586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grpSp>
        <p:nvGrpSpPr>
          <p:cNvPr id="27" name="Группа 26"/>
          <p:cNvGrpSpPr/>
          <p:nvPr userDrawn="1"/>
        </p:nvGrpSpPr>
        <p:grpSpPr>
          <a:xfrm>
            <a:off x="8048430" y="1795466"/>
            <a:ext cx="4147405" cy="1795466"/>
            <a:chOff x="7056000" y="1980000"/>
            <a:chExt cx="3636000" cy="1980000"/>
          </a:xfrm>
        </p:grpSpPr>
        <p:sp>
          <p:nvSpPr>
            <p:cNvPr id="12" name="Прямоугольник 11"/>
            <p:cNvSpPr/>
            <p:nvPr userDrawn="1"/>
          </p:nvSpPr>
          <p:spPr>
            <a:xfrm>
              <a:off x="7056000" y="1980000"/>
              <a:ext cx="540000" cy="1980000"/>
            </a:xfrm>
            <a:prstGeom prst="rect">
              <a:avLst/>
            </a:prstGeom>
            <a:solidFill>
              <a:srgbClr val="CFEAF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7596000" y="1980000"/>
              <a:ext cx="900000" cy="1980000"/>
            </a:xfrm>
            <a:prstGeom prst="rect">
              <a:avLst/>
            </a:prstGeom>
            <a:solidFill>
              <a:srgbClr val="BBE4F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8496000" y="1980000"/>
              <a:ext cx="180000" cy="1980000"/>
            </a:xfrm>
            <a:prstGeom prst="rect">
              <a:avLst/>
            </a:prstGeom>
            <a:solidFill>
              <a:srgbClr val="9FDAF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8676000" y="1980000"/>
              <a:ext cx="900000" cy="1980000"/>
            </a:xfrm>
            <a:prstGeom prst="rect">
              <a:avLst/>
            </a:prstGeom>
            <a:solidFill>
              <a:srgbClr val="81D0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9576000" y="1980000"/>
              <a:ext cx="1116000" cy="1980000"/>
            </a:xfrm>
            <a:prstGeom prst="rect">
              <a:avLst/>
            </a:prstGeom>
            <a:solidFill>
              <a:srgbClr val="5EC6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grpSp>
        <p:nvGrpSpPr>
          <p:cNvPr id="28" name="Группа 27"/>
          <p:cNvGrpSpPr/>
          <p:nvPr userDrawn="1"/>
        </p:nvGrpSpPr>
        <p:grpSpPr>
          <a:xfrm>
            <a:off x="2504869" y="1469018"/>
            <a:ext cx="5543561" cy="163224"/>
            <a:chOff x="2196000" y="1620000"/>
            <a:chExt cx="4860000" cy="180000"/>
          </a:xfrm>
        </p:grpSpPr>
        <p:sp>
          <p:nvSpPr>
            <p:cNvPr id="18" name="Прямоугольник 17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1" name="Прямоугольник 20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32" name="Рисунок 31"/>
          <p:cNvSpPr>
            <a:spLocks noGrp="1"/>
          </p:cNvSpPr>
          <p:nvPr>
            <p:ph type="pic" sz="quarter" idx="10"/>
          </p:nvPr>
        </p:nvSpPr>
        <p:spPr>
          <a:xfrm>
            <a:off x="2504868" y="1796554"/>
            <a:ext cx="7186098" cy="1795466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4084" y="424706"/>
            <a:ext cx="2153551" cy="804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522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ступ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ступл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2"/>
          </p:nvPr>
        </p:nvSpPr>
        <p:spPr>
          <a:xfrm>
            <a:off x="7432479" y="1796554"/>
            <a:ext cx="3490391" cy="3754156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pic>
        <p:nvPicPr>
          <p:cNvPr id="13" name="Изображение 12" descr="MISIS 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2966" y="5712846"/>
            <a:ext cx="1731398" cy="641232"/>
          </a:xfrm>
          <a:prstGeom prst="rect">
            <a:avLst/>
          </a:prstGeom>
        </p:spPr>
      </p:pic>
      <p:grpSp>
        <p:nvGrpSpPr>
          <p:cNvPr id="14" name="Группа 13"/>
          <p:cNvGrpSpPr/>
          <p:nvPr userDrawn="1"/>
        </p:nvGrpSpPr>
        <p:grpSpPr>
          <a:xfrm>
            <a:off x="1272966" y="6698720"/>
            <a:ext cx="5543561" cy="163224"/>
            <a:chOff x="2196000" y="1620000"/>
            <a:chExt cx="4860000" cy="180000"/>
          </a:xfrm>
        </p:grpSpPr>
        <p:sp>
          <p:nvSpPr>
            <p:cNvPr id="15" name="Прямоугольник 14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1" name="Прямоугольник 20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5954195" cy="3754156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2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165415" y="6624794"/>
            <a:ext cx="1026585" cy="23062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88">
                <a:solidFill>
                  <a:schemeClr val="tx2"/>
                </a:solidFill>
              </a:defRPr>
            </a:lvl1pPr>
          </a:lstStyle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699450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1272966" y="6698720"/>
            <a:ext cx="5543561" cy="163224"/>
            <a:chOff x="2196000" y="1620000"/>
            <a:chExt cx="4860000" cy="180000"/>
          </a:xfrm>
        </p:grpSpPr>
        <p:sp>
          <p:nvSpPr>
            <p:cNvPr id="15" name="Прямоугольник 14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1" name="Прямоугольник 20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9649903" cy="4733501"/>
          </a:xfrm>
        </p:spPr>
        <p:txBody>
          <a:bodyPr numCol="3" spcCol="1224000"/>
          <a:lstStyle>
            <a:lvl1pPr marL="0" marR="0" indent="-326448" algn="l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 typeface="Wingdings" charset="2"/>
              <a:buAutoNum type="arabicPlain"/>
              <a:tabLst/>
              <a:defRPr sz="1088" kern="1200"/>
            </a:lvl1pPr>
            <a:lvl2pPr marL="207294" indent="-207294">
              <a:buFont typeface="Wingdings" charset="2"/>
              <a:buAutoNum type="arabicPlain"/>
              <a:defRPr/>
            </a:lvl2pPr>
            <a:lvl3pPr marL="371403" indent="-207294">
              <a:buFont typeface="Wingdings" charset="2"/>
              <a:buAutoNum type="arabicPlain"/>
              <a:defRPr/>
            </a:lvl3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2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165415" y="6616156"/>
            <a:ext cx="1026585" cy="23925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88">
                <a:solidFill>
                  <a:schemeClr val="tx2"/>
                </a:solidFill>
              </a:defRPr>
            </a:lvl1pPr>
          </a:lstStyle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722469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ступ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ступл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2"/>
          </p:nvPr>
        </p:nvSpPr>
        <p:spPr>
          <a:xfrm>
            <a:off x="7432479" y="1796554"/>
            <a:ext cx="3490391" cy="3754156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pic>
        <p:nvPicPr>
          <p:cNvPr id="13" name="Изображение 12" descr="MISIS 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2966" y="5712846"/>
            <a:ext cx="1731398" cy="641232"/>
          </a:xfrm>
          <a:prstGeom prst="rect">
            <a:avLst/>
          </a:prstGeom>
        </p:spPr>
      </p:pic>
      <p:grpSp>
        <p:nvGrpSpPr>
          <p:cNvPr id="14" name="Группа 13"/>
          <p:cNvGrpSpPr/>
          <p:nvPr userDrawn="1"/>
        </p:nvGrpSpPr>
        <p:grpSpPr>
          <a:xfrm>
            <a:off x="1272966" y="6698720"/>
            <a:ext cx="5543561" cy="163224"/>
            <a:chOff x="2196000" y="1620000"/>
            <a:chExt cx="4860000" cy="180000"/>
          </a:xfrm>
        </p:grpSpPr>
        <p:sp>
          <p:nvSpPr>
            <p:cNvPr id="15" name="Прямоугольник 14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1" name="Прямоугольник 20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5954195" cy="3754156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2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165415" y="6624794"/>
            <a:ext cx="1026585" cy="23062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88">
                <a:solidFill>
                  <a:schemeClr val="tx2"/>
                </a:solidFill>
              </a:defRPr>
            </a:lvl1pPr>
          </a:lstStyle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510565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 userDrawn="1"/>
        </p:nvSpPr>
        <p:spPr>
          <a:xfrm>
            <a:off x="0" y="2774811"/>
            <a:ext cx="12195835" cy="4080605"/>
          </a:xfrm>
          <a:prstGeom prst="rect">
            <a:avLst/>
          </a:prstGeom>
          <a:solidFill>
            <a:srgbClr val="5EC6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2504869" y="6698720"/>
            <a:ext cx="5543561" cy="163224"/>
            <a:chOff x="2196000" y="1620000"/>
            <a:chExt cx="4860000" cy="180000"/>
          </a:xfrm>
        </p:grpSpPr>
        <p:sp>
          <p:nvSpPr>
            <p:cNvPr id="10" name="Прямоугольник 9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20" name="Прямоугольник 19"/>
          <p:cNvSpPr/>
          <p:nvPr userDrawn="1"/>
        </p:nvSpPr>
        <p:spPr>
          <a:xfrm>
            <a:off x="1" y="1958690"/>
            <a:ext cx="10922868" cy="816121"/>
          </a:xfrm>
          <a:prstGeom prst="rect">
            <a:avLst/>
          </a:prstGeom>
          <a:solidFill>
            <a:srgbClr val="9FDA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0" y="1795466"/>
            <a:ext cx="8048429" cy="163224"/>
          </a:xfrm>
          <a:prstGeom prst="rect">
            <a:avLst/>
          </a:prstGeom>
          <a:solidFill>
            <a:srgbClr val="D4EE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sp>
        <p:nvSpPr>
          <p:cNvPr id="22" name="Название 8"/>
          <p:cNvSpPr>
            <a:spLocks noGrp="1"/>
          </p:cNvSpPr>
          <p:nvPr>
            <p:ph type="title"/>
          </p:nvPr>
        </p:nvSpPr>
        <p:spPr>
          <a:xfrm>
            <a:off x="2504869" y="3917380"/>
            <a:ext cx="8418001" cy="1632242"/>
          </a:xfrm>
        </p:spPr>
        <p:txBody>
          <a:bodyPr/>
          <a:lstStyle>
            <a:lvl1pPr>
              <a:defRPr sz="2176">
                <a:solidFill>
                  <a:schemeClr val="bg1"/>
                </a:solidFill>
              </a:defRPr>
            </a:lvl1pPr>
          </a:lstStyle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2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504866" y="5712846"/>
            <a:ext cx="8418001" cy="816121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907">
                <a:solidFill>
                  <a:schemeClr val="bg1"/>
                </a:solidFill>
              </a:defRPr>
            </a:lvl1pPr>
            <a:lvl2pPr marL="47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1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9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08344052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Шмуцти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29"/>
            <a:ext cx="12192000" cy="6848742"/>
          </a:xfrm>
          <a:prstGeom prst="rect">
            <a:avLst/>
          </a:prstGeom>
        </p:spPr>
      </p:pic>
      <p:grpSp>
        <p:nvGrpSpPr>
          <p:cNvPr id="9" name="Группа 8"/>
          <p:cNvGrpSpPr/>
          <p:nvPr userDrawn="1"/>
        </p:nvGrpSpPr>
        <p:grpSpPr>
          <a:xfrm>
            <a:off x="2504869" y="6698720"/>
            <a:ext cx="5543561" cy="163224"/>
            <a:chOff x="2196000" y="1620000"/>
            <a:chExt cx="4860000" cy="180000"/>
          </a:xfrm>
        </p:grpSpPr>
        <p:sp>
          <p:nvSpPr>
            <p:cNvPr id="10" name="Прямоугольник 9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22476936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 и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1269359" y="4733501"/>
            <a:ext cx="4725899" cy="1305793"/>
          </a:xfrm>
          <a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80000" tIns="180000" rIns="180000" bIns="180000"/>
          <a:lstStyle>
            <a:lvl1pPr marL="163224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272966" y="816121"/>
            <a:ext cx="9649903" cy="816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9649903" cy="277481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9769489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 и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72966" y="816121"/>
            <a:ext cx="9649903" cy="816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14"/>
          </p:nvPr>
        </p:nvSpPr>
        <p:spPr>
          <a:xfrm>
            <a:off x="1272966" y="1796554"/>
            <a:ext cx="4722293" cy="473350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sz="quarter" idx="15"/>
          </p:nvPr>
        </p:nvSpPr>
        <p:spPr>
          <a:xfrm>
            <a:off x="6200577" y="1796577"/>
            <a:ext cx="4722293" cy="277481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15" name="Текст 4"/>
          <p:cNvSpPr>
            <a:spLocks noGrp="1"/>
          </p:cNvSpPr>
          <p:nvPr>
            <p:ph type="body" sz="quarter" idx="13"/>
          </p:nvPr>
        </p:nvSpPr>
        <p:spPr>
          <a:xfrm>
            <a:off x="6200577" y="4734939"/>
            <a:ext cx="4725899" cy="1305793"/>
          </a:xfrm>
          <a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80000" tIns="180000" rIns="180000" bIns="180000"/>
          <a:lstStyle>
            <a:lvl1pPr marL="163224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1064713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9649903" cy="179546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3"/>
          </p:nvPr>
        </p:nvSpPr>
        <p:spPr>
          <a:xfrm>
            <a:off x="1272966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11" name="Рисунок 9"/>
          <p:cNvSpPr>
            <a:spLocks noGrp="1"/>
          </p:cNvSpPr>
          <p:nvPr>
            <p:ph type="pic" sz="quarter" idx="14"/>
          </p:nvPr>
        </p:nvSpPr>
        <p:spPr>
          <a:xfrm>
            <a:off x="6200577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273229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Название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4722293" cy="179546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9" name="Рисунок 9"/>
          <p:cNvSpPr>
            <a:spLocks noGrp="1"/>
          </p:cNvSpPr>
          <p:nvPr>
            <p:ph type="pic" sz="quarter" idx="13"/>
          </p:nvPr>
        </p:nvSpPr>
        <p:spPr>
          <a:xfrm>
            <a:off x="1272966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6200577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5"/>
          </p:nvPr>
        </p:nvSpPr>
        <p:spPr>
          <a:xfrm>
            <a:off x="6200577" y="1796554"/>
            <a:ext cx="4722293" cy="179546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56041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4"/>
          </p:nvPr>
        </p:nvSpPr>
        <p:spPr>
          <a:xfrm>
            <a:off x="1272966" y="2774811"/>
            <a:ext cx="9649903" cy="3754156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943293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5" name="Рисунок 8"/>
          <p:cNvSpPr>
            <a:spLocks noGrp="1"/>
          </p:cNvSpPr>
          <p:nvPr>
            <p:ph type="pic" sz="quarter" idx="14"/>
          </p:nvPr>
        </p:nvSpPr>
        <p:spPr>
          <a:xfrm>
            <a:off x="1272966" y="1796555"/>
            <a:ext cx="9649903" cy="4732413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991802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азвание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86" b="1"/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12" name="Таблица 11"/>
          <p:cNvSpPr>
            <a:spLocks noGrp="1"/>
          </p:cNvSpPr>
          <p:nvPr>
            <p:ph type="tbl" sz="quarter" idx="14"/>
          </p:nvPr>
        </p:nvSpPr>
        <p:spPr>
          <a:xfrm>
            <a:off x="1272966" y="2775446"/>
            <a:ext cx="9649903" cy="3754156"/>
          </a:xfrm>
        </p:spPr>
        <p:txBody>
          <a:bodyPr/>
          <a:lstStyle/>
          <a:p>
            <a:r>
              <a:rPr lang="en-US" dirty="0" err="1"/>
              <a:t>Щелкните</a:t>
            </a:r>
            <a:r>
              <a:rPr lang="en-US" dirty="0"/>
              <a:t> </a:t>
            </a:r>
            <a:r>
              <a:rPr lang="en-US" dirty="0" err="1"/>
              <a:t>значок</a:t>
            </a:r>
            <a:r>
              <a:rPr lang="en-US" dirty="0"/>
              <a:t>, </a:t>
            </a:r>
            <a:r>
              <a:rPr lang="en-US" dirty="0" err="1"/>
              <a:t>чтобы</a:t>
            </a:r>
            <a:r>
              <a:rPr lang="en-US" dirty="0"/>
              <a:t> </a:t>
            </a:r>
            <a:r>
              <a:rPr lang="en-US" dirty="0" err="1"/>
              <a:t>добавить</a:t>
            </a:r>
            <a:r>
              <a:rPr lang="en-US" dirty="0"/>
              <a:t> </a:t>
            </a:r>
            <a:r>
              <a:rPr lang="en-US" dirty="0" err="1"/>
              <a:t>таблиц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290981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линейн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5712846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15" name="Диаграмма 14"/>
          <p:cNvSpPr>
            <a:spLocks noGrp="1"/>
          </p:cNvSpPr>
          <p:nvPr>
            <p:ph type="chart" sz="quarter" idx="14"/>
          </p:nvPr>
        </p:nvSpPr>
        <p:spPr>
          <a:xfrm>
            <a:off x="1272966" y="1795466"/>
            <a:ext cx="9649903" cy="3754156"/>
          </a:xfrm>
        </p:spPr>
        <p:txBody>
          <a:bodyPr/>
          <a:lstStyle/>
          <a:p>
            <a:r>
              <a:rPr lang="en-US"/>
              <a:t>Щелкните значок, чтобы добавить диаграмму</a:t>
            </a:r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97784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1272966" y="6698720"/>
            <a:ext cx="5543561" cy="163224"/>
            <a:chOff x="2196000" y="1620000"/>
            <a:chExt cx="4860000" cy="180000"/>
          </a:xfrm>
        </p:grpSpPr>
        <p:sp>
          <p:nvSpPr>
            <p:cNvPr id="15" name="Прямоугольник 14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1" name="Прямоугольник 20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9649903" cy="4733501"/>
          </a:xfrm>
        </p:spPr>
        <p:txBody>
          <a:bodyPr numCol="3" spcCol="1224000"/>
          <a:lstStyle>
            <a:lvl1pPr marL="0" marR="0" indent="-326448" algn="l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 typeface="Wingdings" charset="2"/>
              <a:buAutoNum type="arabicPlain"/>
              <a:tabLst/>
              <a:defRPr sz="1088" kern="1200"/>
            </a:lvl1pPr>
            <a:lvl2pPr marL="207294" indent="-207294">
              <a:buFont typeface="Wingdings" charset="2"/>
              <a:buAutoNum type="arabicPlain"/>
              <a:defRPr/>
            </a:lvl2pPr>
            <a:lvl3pPr marL="371403" indent="-207294">
              <a:buFont typeface="Wingdings" charset="2"/>
              <a:buAutoNum type="arabicPlain"/>
              <a:defRPr/>
            </a:lvl3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2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165415" y="6616156"/>
            <a:ext cx="1026585" cy="23925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88">
                <a:solidFill>
                  <a:schemeClr val="tx2"/>
                </a:solidFill>
              </a:defRPr>
            </a:lvl1pPr>
          </a:lstStyle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416366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кругов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4722293" cy="65289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12" name="Диаграмма 14"/>
          <p:cNvSpPr>
            <a:spLocks noGrp="1"/>
          </p:cNvSpPr>
          <p:nvPr>
            <p:ph type="chart" sz="quarter" idx="14"/>
          </p:nvPr>
        </p:nvSpPr>
        <p:spPr>
          <a:xfrm>
            <a:off x="1272966" y="2611586"/>
            <a:ext cx="4722293" cy="3917380"/>
          </a:xfrm>
        </p:spPr>
        <p:txBody>
          <a:bodyPr/>
          <a:lstStyle/>
          <a:p>
            <a:r>
              <a:rPr lang="en-US"/>
              <a:t>Щелкните значок, чтобы добавить диаграмму</a:t>
            </a:r>
            <a:endParaRPr lang="ru-RU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5"/>
          </p:nvPr>
        </p:nvSpPr>
        <p:spPr>
          <a:xfrm>
            <a:off x="6200577" y="1796552"/>
            <a:ext cx="4722293" cy="473350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959607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ерарх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3"/>
          </p:nvPr>
        </p:nvSpPr>
        <p:spPr>
          <a:xfrm>
            <a:off x="1272966" y="1796554"/>
            <a:ext cx="9649903" cy="81612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544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</p:txBody>
      </p:sp>
      <p:sp>
        <p:nvSpPr>
          <p:cNvPr id="17" name="Рисунок SmartArt 16"/>
          <p:cNvSpPr>
            <a:spLocks noGrp="1"/>
          </p:cNvSpPr>
          <p:nvPr>
            <p:ph type="dgm" sz="quarter" idx="14"/>
          </p:nvPr>
        </p:nvSpPr>
        <p:spPr>
          <a:xfrm>
            <a:off x="1272966" y="2775446"/>
            <a:ext cx="9649903" cy="3754156"/>
          </a:xfrm>
        </p:spPr>
        <p:txBody>
          <a:bodyPr/>
          <a:lstStyle/>
          <a:p>
            <a:r>
              <a:rPr lang="en-US"/>
              <a:t>Щелкните значок, чтобы добавить рисунок SmartArt</a:t>
            </a:r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86596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269359" y="328218"/>
            <a:ext cx="1477599" cy="77259"/>
          </a:xfrm>
        </p:spPr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272966" y="6692192"/>
            <a:ext cx="5543561" cy="163224"/>
            <a:chOff x="2196000" y="1620000"/>
            <a:chExt cx="4860000" cy="180000"/>
          </a:xfrm>
        </p:grpSpPr>
        <p:sp>
          <p:nvSpPr>
            <p:cNvPr id="6" name="Прямоугольник 5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7" name="Прямоугольник 6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8" name="Прямоугольник 7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9" name="Прямоугольник 8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0" name="Прямоугольник 9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9318" y="5997973"/>
            <a:ext cx="1517681" cy="567072"/>
          </a:xfrm>
          <a:prstGeom prst="rect">
            <a:avLst/>
          </a:prstGeom>
        </p:spPr>
      </p:pic>
      <p:sp>
        <p:nvSpPr>
          <p:cNvPr id="18" name="Номер слайда 4"/>
          <p:cNvSpPr txBox="1">
            <a:spLocks/>
          </p:cNvSpPr>
          <p:nvPr userDrawn="1"/>
        </p:nvSpPr>
        <p:spPr>
          <a:xfrm>
            <a:off x="11165415" y="328218"/>
            <a:ext cx="684048" cy="7725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ru-RU"/>
            </a:defPPr>
            <a:lvl1pPr marL="0" algn="r" defTabSz="521437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331ACC1-413D-FE48-B4EE-A9FEDC87FF37}" type="slidenum">
              <a:rPr lang="ru-RU" sz="725" smtClean="0"/>
              <a:pPr/>
              <a:t>‹#›</a:t>
            </a:fld>
            <a:endParaRPr lang="ru-RU" sz="725" dirty="0"/>
          </a:p>
        </p:txBody>
      </p:sp>
    </p:spTree>
    <p:extLst>
      <p:ext uri="{BB962C8B-B14F-4D97-AF65-F5344CB8AC3E}">
        <p14:creationId xmlns:p14="http://schemas.microsoft.com/office/powerpoint/2010/main" val="33654331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lIns="105238" tIns="52619" rIns="105238" bIns="52619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767725" y="6371089"/>
            <a:ext cx="1165710" cy="365125"/>
          </a:xfrm>
        </p:spPr>
        <p:txBody>
          <a:bodyPr/>
          <a:lstStyle>
            <a:lvl1pPr>
              <a:defRPr sz="1814" b="1">
                <a:latin typeface="Webnar" pitchFamily="2" charset="0"/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371571"/>
              </p:ext>
            </p:extLst>
          </p:nvPr>
        </p:nvGraphicFramePr>
        <p:xfrm>
          <a:off x="2117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506071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 userDrawn="1"/>
        </p:nvSpPr>
        <p:spPr>
          <a:xfrm>
            <a:off x="0" y="2774811"/>
            <a:ext cx="12195835" cy="4080605"/>
          </a:xfrm>
          <a:prstGeom prst="rect">
            <a:avLst/>
          </a:prstGeom>
          <a:solidFill>
            <a:srgbClr val="5EC6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2504869" y="6698720"/>
            <a:ext cx="5543561" cy="163224"/>
            <a:chOff x="2196000" y="1620000"/>
            <a:chExt cx="4860000" cy="180000"/>
          </a:xfrm>
        </p:grpSpPr>
        <p:sp>
          <p:nvSpPr>
            <p:cNvPr id="10" name="Прямоугольник 9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  <p:sp>
        <p:nvSpPr>
          <p:cNvPr id="20" name="Прямоугольник 19"/>
          <p:cNvSpPr/>
          <p:nvPr userDrawn="1"/>
        </p:nvSpPr>
        <p:spPr>
          <a:xfrm>
            <a:off x="1" y="1958690"/>
            <a:ext cx="10922868" cy="816121"/>
          </a:xfrm>
          <a:prstGeom prst="rect">
            <a:avLst/>
          </a:prstGeom>
          <a:solidFill>
            <a:srgbClr val="9FDA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0" y="1795466"/>
            <a:ext cx="8048429" cy="163224"/>
          </a:xfrm>
          <a:prstGeom prst="rect">
            <a:avLst/>
          </a:prstGeom>
          <a:solidFill>
            <a:srgbClr val="D4EE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4"/>
          </a:p>
        </p:txBody>
      </p:sp>
      <p:sp>
        <p:nvSpPr>
          <p:cNvPr id="22" name="Название 8"/>
          <p:cNvSpPr>
            <a:spLocks noGrp="1"/>
          </p:cNvSpPr>
          <p:nvPr>
            <p:ph type="title"/>
          </p:nvPr>
        </p:nvSpPr>
        <p:spPr>
          <a:xfrm>
            <a:off x="2504869" y="3917380"/>
            <a:ext cx="8418001" cy="1632242"/>
          </a:xfrm>
        </p:spPr>
        <p:txBody>
          <a:bodyPr/>
          <a:lstStyle>
            <a:lvl1pPr>
              <a:defRPr sz="2176">
                <a:solidFill>
                  <a:schemeClr val="bg1"/>
                </a:solidFill>
              </a:defRPr>
            </a:lvl1pPr>
          </a:lstStyle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2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504866" y="5712846"/>
            <a:ext cx="8418001" cy="816121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907">
                <a:solidFill>
                  <a:schemeClr val="bg1"/>
                </a:solidFill>
              </a:defRPr>
            </a:lvl1pPr>
            <a:lvl2pPr marL="47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1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9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41085806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Шмуцти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29"/>
            <a:ext cx="12192000" cy="6848742"/>
          </a:xfrm>
          <a:prstGeom prst="rect">
            <a:avLst/>
          </a:prstGeom>
        </p:spPr>
      </p:pic>
      <p:grpSp>
        <p:nvGrpSpPr>
          <p:cNvPr id="9" name="Группа 8"/>
          <p:cNvGrpSpPr/>
          <p:nvPr userDrawn="1"/>
        </p:nvGrpSpPr>
        <p:grpSpPr>
          <a:xfrm>
            <a:off x="2504869" y="6698720"/>
            <a:ext cx="5543561" cy="163224"/>
            <a:chOff x="2196000" y="1620000"/>
            <a:chExt cx="4860000" cy="180000"/>
          </a:xfrm>
        </p:grpSpPr>
        <p:sp>
          <p:nvSpPr>
            <p:cNvPr id="10" name="Прямоугольник 9"/>
            <p:cNvSpPr/>
            <p:nvPr userDrawn="1"/>
          </p:nvSpPr>
          <p:spPr>
            <a:xfrm>
              <a:off x="2196000" y="1620000"/>
              <a:ext cx="540000" cy="180000"/>
            </a:xfrm>
            <a:prstGeom prst="rect">
              <a:avLst/>
            </a:prstGeom>
            <a:solidFill>
              <a:srgbClr val="F652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2736000" y="1620000"/>
              <a:ext cx="540000" cy="180000"/>
            </a:xfrm>
            <a:prstGeom prst="rect">
              <a:avLst/>
            </a:prstGeom>
            <a:solidFill>
              <a:srgbClr val="EC86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>
              <a:off x="3276000" y="1620000"/>
              <a:ext cx="540000" cy="180000"/>
            </a:xfrm>
            <a:prstGeom prst="rect">
              <a:avLst/>
            </a:prstGeom>
            <a:solidFill>
              <a:srgbClr val="9595D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3" name="Прямоугольник 12"/>
            <p:cNvSpPr/>
            <p:nvPr userDrawn="1"/>
          </p:nvSpPr>
          <p:spPr>
            <a:xfrm>
              <a:off x="3816000" y="1620000"/>
              <a:ext cx="540000" cy="180000"/>
            </a:xfrm>
            <a:prstGeom prst="rect">
              <a:avLst/>
            </a:prstGeom>
            <a:solidFill>
              <a:srgbClr val="407E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4" name="Прямоугольник 13"/>
            <p:cNvSpPr/>
            <p:nvPr userDrawn="1"/>
          </p:nvSpPr>
          <p:spPr>
            <a:xfrm>
              <a:off x="4356000" y="1620000"/>
              <a:ext cx="540000" cy="180000"/>
            </a:xfrm>
            <a:prstGeom prst="rect">
              <a:avLst/>
            </a:prstGeom>
            <a:solidFill>
              <a:srgbClr val="009CA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4896000" y="1620000"/>
              <a:ext cx="540000" cy="180000"/>
            </a:xfrm>
            <a:prstGeom prst="rect">
              <a:avLst/>
            </a:prstGeom>
            <a:solidFill>
              <a:srgbClr val="6CC24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5436000" y="1620000"/>
              <a:ext cx="540000" cy="180000"/>
            </a:xfrm>
            <a:prstGeom prst="rect">
              <a:avLst/>
            </a:prstGeom>
            <a:solidFill>
              <a:srgbClr val="F2A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5976000" y="1620000"/>
              <a:ext cx="540000" cy="180000"/>
            </a:xfrm>
            <a:prstGeom prst="rect">
              <a:avLst/>
            </a:prstGeom>
            <a:solidFill>
              <a:srgbClr val="FF82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6516000" y="1620000"/>
              <a:ext cx="540000" cy="180000"/>
            </a:xfrm>
            <a:prstGeom prst="rect">
              <a:avLst/>
            </a:prstGeom>
            <a:solidFill>
              <a:srgbClr val="C04C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87834077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 и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1269359" y="4733501"/>
            <a:ext cx="4725899" cy="1305793"/>
          </a:xfrm>
          <a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80000" tIns="180000" rIns="180000" bIns="180000"/>
          <a:lstStyle>
            <a:lvl1pPr marL="163224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272966" y="816121"/>
            <a:ext cx="9649903" cy="816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9649903" cy="277481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3180914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 и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72966" y="816121"/>
            <a:ext cx="9649903" cy="816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Образец заголовк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14"/>
          </p:nvPr>
        </p:nvSpPr>
        <p:spPr>
          <a:xfrm>
            <a:off x="1272966" y="1796554"/>
            <a:ext cx="4722293" cy="473350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sz="quarter" idx="15"/>
          </p:nvPr>
        </p:nvSpPr>
        <p:spPr>
          <a:xfrm>
            <a:off x="6200577" y="1796577"/>
            <a:ext cx="4722293" cy="2774811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15" name="Текст 4"/>
          <p:cNvSpPr>
            <a:spLocks noGrp="1"/>
          </p:cNvSpPr>
          <p:nvPr>
            <p:ph type="body" sz="quarter" idx="13"/>
          </p:nvPr>
        </p:nvSpPr>
        <p:spPr>
          <a:xfrm>
            <a:off x="6200577" y="4734939"/>
            <a:ext cx="4725899" cy="1305793"/>
          </a:xfrm>
          <a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80000" tIns="180000" rIns="180000" bIns="180000"/>
          <a:lstStyle>
            <a:lvl1pPr marL="163224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7334998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9649903" cy="179546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3"/>
          </p:nvPr>
        </p:nvSpPr>
        <p:spPr>
          <a:xfrm>
            <a:off x="1272966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11" name="Рисунок 9"/>
          <p:cNvSpPr>
            <a:spLocks noGrp="1"/>
          </p:cNvSpPr>
          <p:nvPr>
            <p:ph type="pic" sz="quarter" idx="14"/>
          </p:nvPr>
        </p:nvSpPr>
        <p:spPr>
          <a:xfrm>
            <a:off x="6200577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42098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Название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12"/>
          </p:nvPr>
        </p:nvSpPr>
        <p:spPr>
          <a:xfrm>
            <a:off x="1272966" y="1796554"/>
            <a:ext cx="4722293" cy="179546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  <p:sp>
        <p:nvSpPr>
          <p:cNvPr id="9" name="Рисунок 9"/>
          <p:cNvSpPr>
            <a:spLocks noGrp="1"/>
          </p:cNvSpPr>
          <p:nvPr>
            <p:ph type="pic" sz="quarter" idx="13"/>
          </p:nvPr>
        </p:nvSpPr>
        <p:spPr>
          <a:xfrm>
            <a:off x="1272966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6200577" y="3755778"/>
            <a:ext cx="4722293" cy="2774811"/>
          </a:xfrm>
        </p:spPr>
        <p:txBody>
          <a:bodyPr/>
          <a:lstStyle/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5"/>
          </p:nvPr>
        </p:nvSpPr>
        <p:spPr>
          <a:xfrm>
            <a:off x="6200577" y="1796554"/>
            <a:ext cx="4722293" cy="179546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544"/>
              </a:spcBef>
              <a:defRPr/>
            </a:lvl4pPr>
            <a:lvl5pPr>
              <a:spcBef>
                <a:spcPts val="544"/>
              </a:spcBef>
              <a:defRPr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299927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71964109"/>
              </p:ext>
            </p:extLst>
          </p:nvPr>
        </p:nvGraphicFramePr>
        <p:xfrm>
          <a:off x="1812" y="1441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812" y="1441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165415" y="6633431"/>
            <a:ext cx="1026585" cy="2219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88">
                <a:solidFill>
                  <a:schemeClr val="tx2"/>
                </a:solidFill>
              </a:defRPr>
            </a:lvl1pPr>
          </a:lstStyle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269359" y="328218"/>
            <a:ext cx="8418001" cy="32135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25">
                <a:solidFill>
                  <a:schemeClr val="tx2"/>
                </a:solidFill>
              </a:defRPr>
            </a:lvl1pPr>
          </a:lstStyle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72966" y="816121"/>
            <a:ext cx="9649903" cy="816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  <a:r>
              <a:rPr lang="en-US" dirty="0"/>
              <a:t> 24pt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72966" y="1795466"/>
            <a:ext cx="9649903" cy="4733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  <a:r>
              <a:rPr lang="en-US" dirty="0"/>
              <a:t> 14pt</a:t>
            </a:r>
            <a:endParaRPr lang="ru-RU" dirty="0"/>
          </a:p>
          <a:p>
            <a:pPr lvl="1"/>
            <a:r>
              <a:rPr lang="ru-RU" dirty="0"/>
              <a:t>Второй уровень</a:t>
            </a:r>
            <a:r>
              <a:rPr lang="en-US" dirty="0"/>
              <a:t> 12pt</a:t>
            </a:r>
            <a:endParaRPr lang="ru-RU" dirty="0"/>
          </a:p>
          <a:p>
            <a:pPr lvl="2"/>
            <a:r>
              <a:rPr lang="ru-RU" dirty="0"/>
              <a:t>Третий уровень</a:t>
            </a:r>
            <a:r>
              <a:rPr lang="en-US" dirty="0"/>
              <a:t> 10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3028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ftr="0"/>
  <p:txStyles>
    <p:titleStyle>
      <a:lvl1pPr algn="l" defTabSz="472839" rtl="0" eaLnBrk="1" latinLnBrk="0" hangingPunct="1">
        <a:lnSpc>
          <a:spcPts val="2612"/>
        </a:lnSpc>
        <a:spcBef>
          <a:spcPct val="0"/>
        </a:spcBef>
        <a:buNone/>
        <a:defRPr sz="21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72839" rtl="0" eaLnBrk="1" latinLnBrk="0" hangingPunct="1">
        <a:spcBef>
          <a:spcPts val="0"/>
        </a:spcBef>
        <a:spcAft>
          <a:spcPts val="544"/>
        </a:spcAft>
        <a:buFont typeface="Arial"/>
        <a:buNone/>
        <a:defRPr sz="1270" kern="1200">
          <a:solidFill>
            <a:schemeClr val="tx2"/>
          </a:solidFill>
          <a:latin typeface="+mn-lt"/>
          <a:ea typeface="+mn-ea"/>
          <a:cs typeface="+mn-cs"/>
        </a:defRPr>
      </a:lvl1pPr>
      <a:lvl2pPr marL="162669" indent="-162669" algn="l" defTabSz="472839" rtl="0" eaLnBrk="1" latinLnBrk="0" hangingPunct="1">
        <a:spcBef>
          <a:spcPts val="0"/>
        </a:spcBef>
        <a:spcAft>
          <a:spcPts val="544"/>
        </a:spcAft>
        <a:buClr>
          <a:schemeClr val="tx1"/>
        </a:buClr>
        <a:buFont typeface="Lucida Grande"/>
        <a:buChar char="●"/>
        <a:defRPr sz="1088" kern="1200">
          <a:solidFill>
            <a:schemeClr val="tx2"/>
          </a:solidFill>
          <a:latin typeface="+mn-lt"/>
          <a:ea typeface="+mn-ea"/>
          <a:cs typeface="+mn-cs"/>
        </a:defRPr>
      </a:lvl2pPr>
      <a:lvl3pPr marL="325337" indent="-161229" algn="l" defTabSz="472839" rtl="0" eaLnBrk="1" latinLnBrk="0" hangingPunct="1">
        <a:spcBef>
          <a:spcPts val="0"/>
        </a:spcBef>
        <a:spcAft>
          <a:spcPts val="544"/>
        </a:spcAft>
        <a:buFont typeface="Lucida Grande"/>
        <a:buChar char="—"/>
        <a:defRPr sz="907" kern="1200">
          <a:solidFill>
            <a:schemeClr val="tx2"/>
          </a:solidFill>
          <a:latin typeface="+mn-lt"/>
          <a:ea typeface="+mn-ea"/>
          <a:cs typeface="+mn-cs"/>
        </a:defRPr>
      </a:lvl3pPr>
      <a:lvl4pPr marL="1654935" indent="-236419" algn="l" defTabSz="472839" rtl="0" eaLnBrk="1" latinLnBrk="0" hangingPunct="1">
        <a:spcBef>
          <a:spcPct val="20000"/>
        </a:spcBef>
        <a:buFont typeface="Arial"/>
        <a:buChar char="–"/>
        <a:defRPr sz="2086" kern="1200">
          <a:solidFill>
            <a:schemeClr val="tx2"/>
          </a:solidFill>
          <a:latin typeface="+mn-lt"/>
          <a:ea typeface="+mn-ea"/>
          <a:cs typeface="+mn-cs"/>
        </a:defRPr>
      </a:lvl4pPr>
      <a:lvl5pPr marL="2127774" indent="-236419" algn="l" defTabSz="472839" rtl="0" eaLnBrk="1" latinLnBrk="0" hangingPunct="1">
        <a:spcBef>
          <a:spcPct val="20000"/>
        </a:spcBef>
        <a:buFont typeface="Arial"/>
        <a:buChar char="»"/>
        <a:defRPr sz="2086" kern="1200">
          <a:solidFill>
            <a:schemeClr val="tx2"/>
          </a:solidFill>
          <a:latin typeface="+mn-lt"/>
          <a:ea typeface="+mn-ea"/>
          <a:cs typeface="+mn-cs"/>
        </a:defRPr>
      </a:lvl5pPr>
      <a:lvl6pPr marL="2600613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6pPr>
      <a:lvl7pPr marL="3073452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7pPr>
      <a:lvl8pPr marL="3546291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8pPr>
      <a:lvl9pPr marL="4019129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2839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45677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18516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9135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6419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37033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09871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8271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79414543"/>
              </p:ext>
            </p:extLst>
          </p:nvPr>
        </p:nvGraphicFramePr>
        <p:xfrm>
          <a:off x="1812" y="1441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812" y="1441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165415" y="6633431"/>
            <a:ext cx="1026585" cy="2219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88">
                <a:solidFill>
                  <a:schemeClr val="tx2"/>
                </a:solidFill>
              </a:defRPr>
            </a:lvl1pPr>
          </a:lstStyle>
          <a:p>
            <a:fld id="{9331ACC1-413D-FE48-B4EE-A9FEDC87FF3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269359" y="328218"/>
            <a:ext cx="8418001" cy="32135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25">
                <a:solidFill>
                  <a:schemeClr val="tx2"/>
                </a:solidFill>
              </a:defRPr>
            </a:lvl1pPr>
          </a:lstStyle>
          <a:p>
            <a:r>
              <a:rPr lang="ru-RU"/>
              <a:t>НИТУ «МИСиС»/ Об итогах выполнения программы повышения конкурентоспособности 5/100 в 2018 году и задачах по реализации ППК в 2019 году / 20.12.2018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72966" y="816121"/>
            <a:ext cx="9649903" cy="816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  <a:r>
              <a:rPr lang="en-US" dirty="0"/>
              <a:t> 24pt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72966" y="1795466"/>
            <a:ext cx="9649903" cy="4733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  <a:r>
              <a:rPr lang="en-US" dirty="0"/>
              <a:t> 14pt</a:t>
            </a:r>
            <a:endParaRPr lang="ru-RU" dirty="0"/>
          </a:p>
          <a:p>
            <a:pPr lvl="1"/>
            <a:r>
              <a:rPr lang="ru-RU" dirty="0"/>
              <a:t>Второй уровень</a:t>
            </a:r>
            <a:r>
              <a:rPr lang="en-US" dirty="0"/>
              <a:t> 12pt</a:t>
            </a:r>
            <a:endParaRPr lang="ru-RU" dirty="0"/>
          </a:p>
          <a:p>
            <a:pPr lvl="2"/>
            <a:r>
              <a:rPr lang="ru-RU" dirty="0"/>
              <a:t>Третий уровень</a:t>
            </a:r>
            <a:r>
              <a:rPr lang="en-US" dirty="0"/>
              <a:t> 10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8113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ransition>
    <p:fade/>
  </p:transition>
  <p:hf hdr="0" ftr="0"/>
  <p:txStyles>
    <p:titleStyle>
      <a:lvl1pPr algn="l" defTabSz="472839" rtl="0" eaLnBrk="1" latinLnBrk="0" hangingPunct="1">
        <a:lnSpc>
          <a:spcPts val="2612"/>
        </a:lnSpc>
        <a:spcBef>
          <a:spcPct val="0"/>
        </a:spcBef>
        <a:buNone/>
        <a:defRPr sz="21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72839" rtl="0" eaLnBrk="1" latinLnBrk="0" hangingPunct="1">
        <a:spcBef>
          <a:spcPts val="0"/>
        </a:spcBef>
        <a:spcAft>
          <a:spcPts val="544"/>
        </a:spcAft>
        <a:buFont typeface="Arial"/>
        <a:buNone/>
        <a:defRPr sz="1270" kern="1200">
          <a:solidFill>
            <a:schemeClr val="tx2"/>
          </a:solidFill>
          <a:latin typeface="+mn-lt"/>
          <a:ea typeface="+mn-ea"/>
          <a:cs typeface="+mn-cs"/>
        </a:defRPr>
      </a:lvl1pPr>
      <a:lvl2pPr marL="162669" indent="-162669" algn="l" defTabSz="472839" rtl="0" eaLnBrk="1" latinLnBrk="0" hangingPunct="1">
        <a:spcBef>
          <a:spcPts val="0"/>
        </a:spcBef>
        <a:spcAft>
          <a:spcPts val="544"/>
        </a:spcAft>
        <a:buClr>
          <a:schemeClr val="tx1"/>
        </a:buClr>
        <a:buFont typeface="Lucida Grande"/>
        <a:buChar char="●"/>
        <a:defRPr sz="1088" kern="1200">
          <a:solidFill>
            <a:schemeClr val="tx2"/>
          </a:solidFill>
          <a:latin typeface="+mn-lt"/>
          <a:ea typeface="+mn-ea"/>
          <a:cs typeface="+mn-cs"/>
        </a:defRPr>
      </a:lvl2pPr>
      <a:lvl3pPr marL="325337" indent="-161229" algn="l" defTabSz="472839" rtl="0" eaLnBrk="1" latinLnBrk="0" hangingPunct="1">
        <a:spcBef>
          <a:spcPts val="0"/>
        </a:spcBef>
        <a:spcAft>
          <a:spcPts val="544"/>
        </a:spcAft>
        <a:buFont typeface="Lucida Grande"/>
        <a:buChar char="—"/>
        <a:defRPr sz="907" kern="1200">
          <a:solidFill>
            <a:schemeClr val="tx2"/>
          </a:solidFill>
          <a:latin typeface="+mn-lt"/>
          <a:ea typeface="+mn-ea"/>
          <a:cs typeface="+mn-cs"/>
        </a:defRPr>
      </a:lvl3pPr>
      <a:lvl4pPr marL="1654935" indent="-236419" algn="l" defTabSz="472839" rtl="0" eaLnBrk="1" latinLnBrk="0" hangingPunct="1">
        <a:spcBef>
          <a:spcPct val="20000"/>
        </a:spcBef>
        <a:buFont typeface="Arial"/>
        <a:buChar char="–"/>
        <a:defRPr sz="2086" kern="1200">
          <a:solidFill>
            <a:schemeClr val="tx2"/>
          </a:solidFill>
          <a:latin typeface="+mn-lt"/>
          <a:ea typeface="+mn-ea"/>
          <a:cs typeface="+mn-cs"/>
        </a:defRPr>
      </a:lvl4pPr>
      <a:lvl5pPr marL="2127774" indent="-236419" algn="l" defTabSz="472839" rtl="0" eaLnBrk="1" latinLnBrk="0" hangingPunct="1">
        <a:spcBef>
          <a:spcPct val="20000"/>
        </a:spcBef>
        <a:buFont typeface="Arial"/>
        <a:buChar char="»"/>
        <a:defRPr sz="2086" kern="1200">
          <a:solidFill>
            <a:schemeClr val="tx2"/>
          </a:solidFill>
          <a:latin typeface="+mn-lt"/>
          <a:ea typeface="+mn-ea"/>
          <a:cs typeface="+mn-cs"/>
        </a:defRPr>
      </a:lvl5pPr>
      <a:lvl6pPr marL="2600613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6pPr>
      <a:lvl7pPr marL="3073452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7pPr>
      <a:lvl8pPr marL="3546291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8pPr>
      <a:lvl9pPr marL="4019129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2839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45677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18516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9135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6419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37033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09871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8271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2.jpeg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10.png"/><Relationship Id="rId5" Type="http://schemas.openxmlformats.org/officeDocument/2006/relationships/image" Target="../media/image21.png"/><Relationship Id="rId4" Type="http://schemas.openxmlformats.org/officeDocument/2006/relationships/image" Target="../media/image19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795" y="3917380"/>
            <a:ext cx="9303076" cy="2344272"/>
          </a:xfrm>
        </p:spPr>
        <p:txBody>
          <a:bodyPr/>
          <a:lstStyle/>
          <a:p>
            <a:r>
              <a:rPr lang="ru" sz="2800" dirty="0"/>
              <a:t>Разработка модели идентификации целенаправленной физической активности человека при выполнении производственных работ</a:t>
            </a:r>
            <a:br>
              <a:rPr lang="ru-RU" sz="2800" b="1" dirty="0"/>
            </a:br>
            <a:br>
              <a:rPr lang="ru-RU" sz="2800" b="1" dirty="0"/>
            </a:br>
            <a:r>
              <a:rPr lang="ru-RU" sz="1800" b="1" dirty="0"/>
              <a:t>Автор</a:t>
            </a:r>
            <a:r>
              <a:rPr lang="en-US" sz="1800" b="1" dirty="0"/>
              <a:t>: </a:t>
            </a:r>
            <a:r>
              <a:rPr lang="ru-RU" sz="1800" b="1" dirty="0"/>
              <a:t>студент группы БИВТ-18-4 </a:t>
            </a:r>
            <a:br>
              <a:rPr lang="ru-RU" sz="1800" b="1" dirty="0"/>
            </a:br>
            <a:r>
              <a:rPr lang="ru-RU" sz="1800" b="1" dirty="0"/>
              <a:t>Кириллов П</a:t>
            </a:r>
            <a:r>
              <a:rPr lang="en-US" sz="1800" b="1" dirty="0"/>
              <a:t>.</a:t>
            </a:r>
            <a:r>
              <a:rPr lang="ru-RU" sz="1800" b="1" dirty="0"/>
              <a:t> С</a:t>
            </a:r>
            <a:r>
              <a:rPr lang="en-US" sz="1800" b="1" dirty="0"/>
              <a:t>.</a:t>
            </a:r>
            <a:br>
              <a:rPr lang="en-US" sz="1800" b="1" dirty="0"/>
            </a:br>
            <a:r>
              <a:rPr lang="ru-RU" sz="1800" b="1" dirty="0"/>
              <a:t>Руководитель</a:t>
            </a:r>
            <a:r>
              <a:rPr lang="en-US" sz="1800" b="1" dirty="0"/>
              <a:t>: </a:t>
            </a:r>
            <a:r>
              <a:rPr lang="ru-RU" sz="1800" b="1" dirty="0"/>
              <a:t>старший преподаватель</a:t>
            </a:r>
            <a:br>
              <a:rPr lang="ru-RU" sz="1800" b="1" dirty="0"/>
            </a:br>
            <a:r>
              <a:rPr lang="ru-RU" sz="1800" b="1" dirty="0"/>
              <a:t>Дерябин С</a:t>
            </a:r>
            <a:r>
              <a:rPr lang="en-US" sz="1800" b="1" dirty="0"/>
              <a:t>.</a:t>
            </a:r>
            <a:r>
              <a:rPr lang="ru-RU" sz="1800" b="1" dirty="0"/>
              <a:t>А</a:t>
            </a:r>
            <a:r>
              <a:rPr lang="en-US" sz="1800" b="1" dirty="0"/>
              <a:t>.</a:t>
            </a:r>
            <a:endParaRPr lang="ru-RU" sz="2800" dirty="0"/>
          </a:p>
        </p:txBody>
      </p:sp>
      <p:pic>
        <p:nvPicPr>
          <p:cNvPr id="45" name="Рисунок 44" descr="Изображение выглядит как цепь&#10;&#10;Автоматически созданное описание">
            <a:extLst>
              <a:ext uri="{FF2B5EF4-FFF2-40B4-BE49-F238E27FC236}">
                <a16:creationId xmlns:a16="http://schemas.microsoft.com/office/drawing/2014/main" id="{B2C511A4-619A-412B-ADA2-3921F55C57E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32" b="23232"/>
          <a:stretch>
            <a:fillRect/>
          </a:stretch>
        </p:blipFill>
        <p:spPr>
          <a:xfrm>
            <a:off x="0" y="0"/>
            <a:ext cx="12192000" cy="3654638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F26618D-9CFA-2F8E-305D-BF3D6630DCE1}"/>
              </a:ext>
            </a:extLst>
          </p:cNvPr>
          <p:cNvSpPr txBox="1"/>
          <p:nvPr/>
        </p:nvSpPr>
        <p:spPr>
          <a:xfrm>
            <a:off x="-248479" y="127490"/>
            <a:ext cx="705678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МИНИСТЕРСТВО НАУКИ И ВЫСШЕГО ОБРАЗОВАНИЯ РОССИЙСКОЙ ФЕДЕРАЦИИ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ФЕДЕРАЛЬНОЕ ГОСУДАРСТВЕННОЕ АВТОНОМНОЕ ОБРАЗОВАТЕЛЬНОЕ УЧРЕЖДЕНИЕ ВЫСШЕГО ОБРАЗОВАНИЯ</a:t>
            </a:r>
            <a:endParaRPr lang="ru-RU" sz="14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«НАЦИОНАЛЬНЫЙ ИССЛЕДОВАТЕЛЬСКИЙ ТЕХНОЛОГИЧЕСКИЙ УНИВЕРСИТЕТ «МИСиС»</a:t>
            </a:r>
            <a:endParaRPr lang="ru-RU" sz="14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30103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Результаты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500679" y="1193806"/>
            <a:ext cx="6690457" cy="49500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Google Shape;153;p22">
            <a:extLst>
              <a:ext uri="{FF2B5EF4-FFF2-40B4-BE49-F238E27FC236}">
                <a16:creationId xmlns:a16="http://schemas.microsoft.com/office/drawing/2014/main" id="{3B8B9BAF-FEA5-DBD3-C5C4-E24A0953AA24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41797" y="1772810"/>
            <a:ext cx="2768059" cy="354765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0832F33-0C34-BB15-AF01-147383BDB576}"/>
              </a:ext>
            </a:extLst>
          </p:cNvPr>
          <p:cNvSpPr txBox="1"/>
          <p:nvPr/>
        </p:nvSpPr>
        <p:spPr>
          <a:xfrm>
            <a:off x="949161" y="1104038"/>
            <a:ext cx="48552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</a:rPr>
              <a:t>Качество работы программного решения на метриках классификации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AC0A6A-D2F3-C43E-CB90-760F6A8C5EA6}"/>
              </a:ext>
            </a:extLst>
          </p:cNvPr>
          <p:cNvSpPr txBox="1"/>
          <p:nvPr/>
        </p:nvSpPr>
        <p:spPr>
          <a:xfrm>
            <a:off x="6570796" y="1025810"/>
            <a:ext cx="55251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</a:rPr>
              <a:t>Пример сводки о рабочей активности по результатам работы программного решения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  <a:endParaRPr lang="ru-RU" sz="1600" dirty="0">
              <a:solidFill>
                <a:schemeClr val="tx2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F6F613-FE2D-66EB-6F01-39747982A0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3626" y="1688813"/>
            <a:ext cx="3184099" cy="428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46073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795" y="3917380"/>
            <a:ext cx="9303076" cy="2344272"/>
          </a:xfrm>
        </p:spPr>
        <p:txBody>
          <a:bodyPr/>
          <a:lstStyle/>
          <a:p>
            <a:r>
              <a:rPr lang="ru" sz="2800" dirty="0"/>
              <a:t>Спасибо за внимание</a:t>
            </a:r>
            <a:br>
              <a:rPr lang="ru-RU" sz="2800" b="1" dirty="0"/>
            </a:br>
            <a:endParaRPr lang="ru-RU" sz="2800" dirty="0"/>
          </a:p>
        </p:txBody>
      </p:sp>
      <p:pic>
        <p:nvPicPr>
          <p:cNvPr id="45" name="Рисунок 44" descr="Изображение выглядит как цепь&#10;&#10;Автоматически созданное описание">
            <a:extLst>
              <a:ext uri="{FF2B5EF4-FFF2-40B4-BE49-F238E27FC236}">
                <a16:creationId xmlns:a16="http://schemas.microsoft.com/office/drawing/2014/main" id="{B2C511A4-619A-412B-ADA2-3921F55C57E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32" b="23232"/>
          <a:stretch>
            <a:fillRect/>
          </a:stretch>
        </p:blipFill>
        <p:spPr>
          <a:xfrm>
            <a:off x="0" y="0"/>
            <a:ext cx="12192000" cy="3654638"/>
          </a:xfrm>
        </p:spPr>
      </p:pic>
    </p:spTree>
    <p:extLst>
      <p:ext uri="{BB962C8B-B14F-4D97-AF65-F5344CB8AC3E}">
        <p14:creationId xmlns:p14="http://schemas.microsoft.com/office/powerpoint/2010/main" val="85026851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351897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Концепция проекта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485790" y="978431"/>
            <a:ext cx="6690457" cy="466794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r>
              <a:rPr lang="ru-RU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:</a:t>
            </a: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r>
              <a:rPr lang="ru-RU" sz="1400" b="0" i="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эффективности процессов мониторинга и управления целенаправленной физической активностью людей в части сокращения времени на получение репрезентативной информации, описывающей такую физическую активность.</a:t>
            </a: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472839">
              <a:spcAft>
                <a:spcPts val="544"/>
              </a:spcAft>
              <a:buFont typeface="Arial"/>
              <a:buNone/>
            </a:pPr>
            <a:r>
              <a:rPr lang="ru-RU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тика и актуальность:</a:t>
            </a: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сть в повышении эффективности процессов мониторинга и управления целенаправленной физической активностью людей обусловлена непрерывным трендом в увеличении объемов и масштабов экономико-хозяйственной и экономико-технологической деятельности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Москвы, требующих непрерывного контроля за качеством и сроками реализации задач.</a:t>
            </a:r>
          </a:p>
          <a:p>
            <a:pPr defTabSz="472839">
              <a:spcAft>
                <a:spcPts val="544"/>
              </a:spcAft>
              <a:buFont typeface="Arial"/>
              <a:buNone/>
            </a:pPr>
            <a:r>
              <a:rPr lang="ru-RU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мое решение:</a:t>
            </a: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е структурно-функциональных схем решения задачи с учетом использования персональных носимых устройств (устройств мониторинга)</a:t>
            </a: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унифицированной классификационной схемы для мониторинга разнотипных рабочих специальностей</a:t>
            </a: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ор и обоснование математической модели решения задачи</a:t>
            </a: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но-алгоритмическая реализация модели идентификации целенаправленной физической активности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AA4C105-C8D8-B183-D56B-16889F77C8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345" y="227628"/>
            <a:ext cx="4639556" cy="2745144"/>
          </a:xfrm>
          <a:prstGeom prst="rect">
            <a:avLst/>
          </a:prstGeom>
        </p:spPr>
      </p:pic>
      <p:pic>
        <p:nvPicPr>
          <p:cNvPr id="7170" name="Picture 2" descr="Департамент информационных технологий города Москвы - Постановка и  автоматизация процессов разработки ПО">
            <a:extLst>
              <a:ext uri="{FF2B5EF4-FFF2-40B4-BE49-F238E27FC236}">
                <a16:creationId xmlns:a16="http://schemas.microsoft.com/office/drawing/2014/main" id="{35588346-28BA-E2A6-A9D6-9FC66D0E2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7820" y="3361244"/>
            <a:ext cx="2750304" cy="206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929620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6977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Процессы управления целенаправленной физической активностью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pic>
        <p:nvPicPr>
          <p:cNvPr id="6" name="Google Shape;93;p14">
            <a:extLst>
              <a:ext uri="{FF2B5EF4-FFF2-40B4-BE49-F238E27FC236}">
                <a16:creationId xmlns:a16="http://schemas.microsoft.com/office/drawing/2014/main" id="{80F84677-9F09-F810-8230-E2629E4CFC3B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477465" y="1464586"/>
            <a:ext cx="7237070" cy="49065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62373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Структурно-функциональная модель решения задачи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pic>
        <p:nvPicPr>
          <p:cNvPr id="10" name="Google Shape;108;p16">
            <a:extLst>
              <a:ext uri="{FF2B5EF4-FFF2-40B4-BE49-F238E27FC236}">
                <a16:creationId xmlns:a16="http://schemas.microsoft.com/office/drawing/2014/main" id="{CA9B3202-358B-FAFD-16F6-F99585055C60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776444" y="1333324"/>
            <a:ext cx="4156991" cy="4191352"/>
          </a:xfrm>
          <a:prstGeom prst="rect">
            <a:avLst/>
          </a:prstGeom>
          <a:noFill/>
          <a:ln>
            <a:noFill/>
          </a:ln>
        </p:spPr>
      </p:pic>
      <p:pic>
        <p:nvPicPr>
          <p:cNvPr id="7170" name="Picture 2" descr="Смарт-часы Zeblaze Thor 5, двойная система, деловой браслет с двумя чипами,  Смарт-часы для телефонов Android и Ios (синий) | Электроника | АлиЭкспресс">
            <a:extLst>
              <a:ext uri="{FF2B5EF4-FFF2-40B4-BE49-F238E27FC236}">
                <a16:creationId xmlns:a16="http://schemas.microsoft.com/office/drawing/2014/main" id="{3FFB63B6-15A2-274A-F4C0-5394AF4DEA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067" y="1168594"/>
            <a:ext cx="2083238" cy="208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oogle Shape;101;p15">
            <a:extLst>
              <a:ext uri="{FF2B5EF4-FFF2-40B4-BE49-F238E27FC236}">
                <a16:creationId xmlns:a16="http://schemas.microsoft.com/office/drawing/2014/main" id="{75BF61BF-A715-3307-0BD7-65E071644552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214259" y="1333324"/>
            <a:ext cx="4562185" cy="419135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FA61A14-FD9C-628D-381C-F8F71A781702}"/>
              </a:ext>
            </a:extLst>
          </p:cNvPr>
          <p:cNvSpPr txBox="1"/>
          <p:nvPr/>
        </p:nvSpPr>
        <p:spPr>
          <a:xfrm>
            <a:off x="-1" y="3262546"/>
            <a:ext cx="3304515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ор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TK 6739 Quad Core + Nordic 52840</a:t>
            </a:r>
          </a:p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ядер процессора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ктовая частота процессора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50 МГц</a:t>
            </a:r>
          </a:p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рационная система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roid</a:t>
            </a:r>
          </a:p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имость с ОС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, iOS, Android, OS X</a:t>
            </a:r>
          </a:p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ьная поддерживаемая версия Android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4</a:t>
            </a:r>
          </a:p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ка сторонних приложений, г</a:t>
            </a:r>
            <a:r>
              <a:rPr lang="ru-RU" sz="140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роскоп, </a:t>
            </a:r>
          </a:p>
          <a:p>
            <a:r>
              <a:rPr lang="ru-RU" sz="140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кселерометр, шагомер, датчик сердцебиения</a:t>
            </a:r>
            <a:r>
              <a:rPr lang="en-US" sz="1400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-Fi</a:t>
            </a:r>
            <a:endParaRPr lang="ru-RU" sz="1400" dirty="0">
              <a:solidFill>
                <a:schemeClr val="tx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5073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133" y="5692407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Построение унифицированной классификационной схемы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500679" y="1193806"/>
            <a:ext cx="6690457" cy="49500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671CFC-B16A-7321-9927-4663DFF7D4CF}"/>
              </a:ext>
            </a:extLst>
          </p:cNvPr>
          <p:cNvSpPr txBox="1"/>
          <p:nvPr/>
        </p:nvSpPr>
        <p:spPr>
          <a:xfrm>
            <a:off x="500679" y="1037536"/>
            <a:ext cx="5831395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</a:rPr>
              <a:t>Вариант 1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</a:p>
          <a:p>
            <a:endParaRPr lang="ru-RU" sz="16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ростой (стоит на месте) – </a:t>
            </a:r>
            <a:r>
              <a:rPr lang="en-US" sz="1400" dirty="0">
                <a:solidFill>
                  <a:schemeClr val="tx2"/>
                </a:solidFill>
              </a:rPr>
              <a:t>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ередвижение по территории – </a:t>
            </a:r>
            <a:r>
              <a:rPr lang="en-US" sz="1400" dirty="0">
                <a:solidFill>
                  <a:schemeClr val="tx2"/>
                </a:solidFill>
              </a:rPr>
              <a:t>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Вкручивание/выкручивание болтов/шурупов – </a:t>
            </a:r>
            <a:r>
              <a:rPr lang="en-US" sz="1400" dirty="0">
                <a:solidFill>
                  <a:schemeClr val="tx2"/>
                </a:solidFill>
              </a:rPr>
              <a:t>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еренос крупных предметов по территории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– </a:t>
            </a:r>
            <a:r>
              <a:rPr lang="en-US" sz="1400" dirty="0">
                <a:solidFill>
                  <a:schemeClr val="tx2"/>
                </a:solidFill>
              </a:rPr>
              <a:t>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однятие предмета – </a:t>
            </a:r>
            <a:r>
              <a:rPr lang="en-US" sz="1400" dirty="0">
                <a:solidFill>
                  <a:schemeClr val="tx2"/>
                </a:solidFill>
              </a:rPr>
              <a:t>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оложить предмет – </a:t>
            </a:r>
            <a:r>
              <a:rPr lang="en-US" sz="1400" dirty="0">
                <a:solidFill>
                  <a:schemeClr val="tx2"/>
                </a:solidFill>
              </a:rPr>
              <a:t>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еренос мелких предметов по территории – </a:t>
            </a:r>
            <a:r>
              <a:rPr lang="en-US" sz="1400" dirty="0">
                <a:solidFill>
                  <a:schemeClr val="tx2"/>
                </a:solidFill>
              </a:rPr>
              <a:t>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одключение/отключение проводов от компьютера – </a:t>
            </a:r>
            <a:r>
              <a:rPr lang="en-US" sz="1400" dirty="0">
                <a:solidFill>
                  <a:schemeClr val="tx2"/>
                </a:solidFill>
              </a:rPr>
              <a:t>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Невозможность определения класса </a:t>
            </a:r>
            <a:r>
              <a:rPr lang="en-US" sz="1400" dirty="0">
                <a:solidFill>
                  <a:schemeClr val="tx2"/>
                </a:solidFill>
              </a:rPr>
              <a:t>- l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507EC5B-955C-71F4-7183-03CC6456FDF3}"/>
              </a:ext>
            </a:extLst>
          </p:cNvPr>
          <p:cNvSpPr txBox="1"/>
          <p:nvPr/>
        </p:nvSpPr>
        <p:spPr>
          <a:xfrm>
            <a:off x="506802" y="3874644"/>
            <a:ext cx="5589198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</a:rPr>
              <a:t>Вариант 2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ростой – </a:t>
            </a:r>
            <a:r>
              <a:rPr lang="en-US" sz="1400" dirty="0">
                <a:solidFill>
                  <a:schemeClr val="tx2"/>
                </a:solidFill>
              </a:rPr>
              <a:t>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еремещение – </a:t>
            </a:r>
            <a:r>
              <a:rPr lang="en-US" sz="1400" dirty="0">
                <a:solidFill>
                  <a:schemeClr val="tx2"/>
                </a:solidFill>
              </a:rPr>
              <a:t>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Низкая мобильная активность – </a:t>
            </a:r>
            <a:r>
              <a:rPr lang="en-US" sz="1400" dirty="0">
                <a:solidFill>
                  <a:schemeClr val="tx2"/>
                </a:solidFill>
              </a:rPr>
              <a:t>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Высокая мобильная активность – </a:t>
            </a:r>
            <a:r>
              <a:rPr lang="en-US" sz="1400" dirty="0">
                <a:solidFill>
                  <a:schemeClr val="tx2"/>
                </a:solidFill>
              </a:rPr>
              <a:t>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Низкая статическая активность – </a:t>
            </a:r>
            <a:r>
              <a:rPr lang="en-US" sz="1400" dirty="0">
                <a:solidFill>
                  <a:schemeClr val="tx2"/>
                </a:solidFill>
              </a:rPr>
              <a:t>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Высокая статическая активность – </a:t>
            </a:r>
            <a:r>
              <a:rPr lang="en-US" sz="1400" dirty="0">
                <a:solidFill>
                  <a:schemeClr val="tx2"/>
                </a:solidFill>
              </a:rPr>
              <a:t>f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C948CC-E6BE-7C1F-8AE4-2A07A2B91DAE}"/>
              </a:ext>
            </a:extLst>
          </p:cNvPr>
          <p:cNvSpPr txBox="1"/>
          <p:nvPr/>
        </p:nvSpPr>
        <p:spPr>
          <a:xfrm>
            <a:off x="6332074" y="1045177"/>
            <a:ext cx="472817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</a:rPr>
              <a:t>Схема в соответствии с которой осуществлялось перекодирование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</a:p>
        </p:txBody>
      </p:sp>
      <p:graphicFrame>
        <p:nvGraphicFramePr>
          <p:cNvPr id="21" name="Таблица 30">
            <a:extLst>
              <a:ext uri="{FF2B5EF4-FFF2-40B4-BE49-F238E27FC236}">
                <a16:creationId xmlns:a16="http://schemas.microsoft.com/office/drawing/2014/main" id="{C7AC3DB6-081C-C517-363F-A12C3D91D9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966007"/>
              </p:ext>
            </p:extLst>
          </p:nvPr>
        </p:nvGraphicFramePr>
        <p:xfrm>
          <a:off x="6668419" y="1769221"/>
          <a:ext cx="2750780" cy="39054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5786">
                  <a:extLst>
                    <a:ext uri="{9D8B030D-6E8A-4147-A177-3AD203B41FA5}">
                      <a16:colId xmlns:a16="http://schemas.microsoft.com/office/drawing/2014/main" val="3861300994"/>
                    </a:ext>
                  </a:extLst>
                </a:gridCol>
                <a:gridCol w="1374994">
                  <a:extLst>
                    <a:ext uri="{9D8B030D-6E8A-4147-A177-3AD203B41FA5}">
                      <a16:colId xmlns:a16="http://schemas.microsoft.com/office/drawing/2014/main" val="146849727"/>
                    </a:ext>
                  </a:extLst>
                </a:gridCol>
              </a:tblGrid>
              <a:tr h="467305">
                <a:tc>
                  <a:txBody>
                    <a:bodyPr/>
                    <a:lstStyle/>
                    <a:p>
                      <a:r>
                        <a:rPr lang="ru-RU" sz="1400" dirty="0"/>
                        <a:t>Кодировка (вариант 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дировка (вариант 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8184608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a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242096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b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92601"/>
                  </a:ext>
                </a:extLst>
              </a:tr>
              <a:tr h="339291">
                <a:tc>
                  <a:txBody>
                    <a:bodyPr/>
                    <a:lstStyle/>
                    <a:p>
                      <a:r>
                        <a:rPr lang="en-US" sz="1400" dirty="0"/>
                        <a:t>c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179946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d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0764986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e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2205390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f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223161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g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0214106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h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791920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i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2085788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j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1567343"/>
                  </a:ext>
                </a:extLst>
              </a:tr>
              <a:tr h="302762">
                <a:tc>
                  <a:txBody>
                    <a:bodyPr/>
                    <a:lstStyle/>
                    <a:p>
                      <a:r>
                        <a:rPr lang="en-US" sz="1400" dirty="0"/>
                        <a:t>k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9387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40078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Математические модели решения задачи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500679" y="1193806"/>
            <a:ext cx="6690457" cy="49500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B1DA9E-1BFF-0AD7-2142-CEC5A57B2465}"/>
              </a:ext>
            </a:extLst>
          </p:cNvPr>
          <p:cNvSpPr txBox="1"/>
          <p:nvPr/>
        </p:nvSpPr>
        <p:spPr>
          <a:xfrm>
            <a:off x="6096000" y="1178043"/>
            <a:ext cx="55953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учаемая телеметрия делилась на 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, test, valid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пропорциях 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0% 15% 15%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енно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Google Shape;139;p20">
            <a:extLst>
              <a:ext uri="{FF2B5EF4-FFF2-40B4-BE49-F238E27FC236}">
                <a16:creationId xmlns:a16="http://schemas.microsoft.com/office/drawing/2014/main" id="{C48F56FE-C943-C16A-DF34-7329C96D9034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965149" y="4380831"/>
            <a:ext cx="8226851" cy="71914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27650A-F0E4-B603-9E47-B89F2183B051}"/>
              </a:ext>
            </a:extLst>
          </p:cNvPr>
          <p:cNvSpPr txBox="1"/>
          <p:nvPr/>
        </p:nvSpPr>
        <p:spPr>
          <a:xfrm>
            <a:off x="679010" y="1023675"/>
            <a:ext cx="32568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tabLst>
                <a:tab pos="450215" algn="l"/>
              </a:tabLst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визуализации данных используется 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-Q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фик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 его построения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C31DCF-6C27-E1B5-DEDA-F9DBEF025BE1}"/>
              </a:ext>
            </a:extLst>
          </p:cNvPr>
          <p:cNvSpPr txBox="1"/>
          <p:nvPr/>
        </p:nvSpPr>
        <p:spPr>
          <a:xfrm>
            <a:off x="6096000" y="3579567"/>
            <a:ext cx="55953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Извлечение новых признаков проходило путем агрегации следующим образом (считывание данных проходило с частотой 5 Гц)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ea typeface="Raleway"/>
                <a:cs typeface="Times New Roman" panose="02020603050405020304" pitchFamily="18" charset="0"/>
                <a:sym typeface="Raleway"/>
              </a:rPr>
              <a:t>:</a:t>
            </a: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ea typeface="Raleway"/>
              <a:cs typeface="Times New Roman" panose="02020603050405020304" pitchFamily="18" charset="0"/>
              <a:sym typeface="Raleway"/>
            </a:endParaRPr>
          </a:p>
        </p:txBody>
      </p:sp>
      <p:pic>
        <p:nvPicPr>
          <p:cNvPr id="19" name="image1.png">
            <a:extLst>
              <a:ext uri="{FF2B5EF4-FFF2-40B4-BE49-F238E27FC236}">
                <a16:creationId xmlns:a16="http://schemas.microsoft.com/office/drawing/2014/main" id="{D78B3B91-1BC3-9607-D263-33AD1D3BC563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>
          <a:xfrm>
            <a:off x="7418487" y="1813142"/>
            <a:ext cx="1923615" cy="1421596"/>
          </a:xfrm>
          <a:prstGeom prst="rect">
            <a:avLst/>
          </a:prstGeom>
          <a:ln/>
        </p:spPr>
      </p:pic>
      <p:pic>
        <p:nvPicPr>
          <p:cNvPr id="14" name="image34.png">
            <a:extLst>
              <a:ext uri="{FF2B5EF4-FFF2-40B4-BE49-F238E27FC236}">
                <a16:creationId xmlns:a16="http://schemas.microsoft.com/office/drawing/2014/main" id="{D2651E13-E046-8852-17D9-07CBFA434984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>
          <a:xfrm>
            <a:off x="1047044" y="1800692"/>
            <a:ext cx="2520817" cy="1829224"/>
          </a:xfrm>
          <a:prstGeom prst="rect">
            <a:avLst/>
          </a:prstGeom>
          <a:ln/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F4E505E-D9E3-4465-3155-B5C6128F87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939" y="4373787"/>
            <a:ext cx="2105025" cy="14382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AEDEC29-7A6C-6E82-7C5D-5A38F91F3A61}"/>
              </a:ext>
            </a:extLst>
          </p:cNvPr>
          <p:cNvSpPr txBox="1"/>
          <p:nvPr/>
        </p:nvSpPr>
        <p:spPr>
          <a:xfrm>
            <a:off x="679009" y="3629916"/>
            <a:ext cx="4113425" cy="69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tabLst>
                <a:tab pos="450215" algn="l"/>
              </a:tabLst>
            </a:pPr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дирование буквенных признаков</a:t>
            </a:r>
            <a:r>
              <a:rPr lang="en-US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one-line encoder):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57461325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Математические модели решения задачи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500679" y="1193806"/>
            <a:ext cx="6690457" cy="49500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8BE6D7C-45DA-311A-F86B-CA23221458B0}"/>
                  </a:ext>
                </a:extLst>
              </p:cNvPr>
              <p:cNvSpPr txBox="1"/>
              <p:nvPr/>
            </p:nvSpPr>
            <p:spPr>
              <a:xfrm>
                <a:off x="597932" y="905909"/>
                <a:ext cx="8195977" cy="52386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4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Формирование ошибки модели случайного леса</a:t>
                </a:r>
                <a:r>
                  <a:rPr lang="en-US" sz="14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r>
                      <a:rPr lang="ru-RU" sz="1200" i="1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𝐸𝑟𝑟</m:t>
                    </m:r>
                    <m:r>
                      <a:rPr lang="ru-RU" sz="1200" i="1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r>
                      <a:rPr lang="en-US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𝑥</m:t>
                    </m:r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 = </m:t>
                    </m:r>
                    <m:sSup>
                      <m:sSupPr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𝐵𝑖𝑎𝑠</m:t>
                        </m:r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(</m:t>
                        </m:r>
                        <m:acc>
                          <m:accPr>
                            <m:chr m:val="̂"/>
                            <m:ctrlPr>
                              <a:rPr lang="ru-RU" sz="12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ru-RU" sz="12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𝑓</m:t>
                            </m:r>
                          </m:e>
                        </m:acc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)</m:t>
                        </m:r>
                      </m:e>
                      <m:sup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 + </m:t>
                    </m:r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𝑉𝑎𝑟</m:t>
                    </m:r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acc>
                      <m:accPr>
                        <m:chr m:val="̂"/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𝑓</m:t>
                        </m:r>
                      </m:e>
                    </m:acc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 + </m:t>
                    </m:r>
                    <m:sSup>
                      <m:sSupPr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𝜎</m:t>
                        </m:r>
                      </m:e>
                      <m:sup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ru-RU" sz="1200" i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где:</a:t>
                </a:r>
              </a:p>
              <a:p>
                <a:pPr indent="450215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Квадрат смещения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𝐵𝑖𝑎𝑠</m:t>
                        </m:r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(</m:t>
                        </m:r>
                        <m:acc>
                          <m:accPr>
                            <m:chr m:val="̂"/>
                            <m:ctrlPr>
                              <a:rPr lang="ru-RU" sz="12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ru-RU" sz="12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𝑓</m:t>
                            </m:r>
                          </m:e>
                        </m:acc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)</m:t>
                        </m:r>
                      </m:e>
                      <m:sup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- средняя ошибка алгоритма на всевозможных наборах данных</a:t>
                </a:r>
              </a:p>
              <a:p>
                <a:pPr indent="450215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Дисперсия </a:t>
                </a:r>
                <a14:m>
                  <m:oMath xmlns:m="http://schemas.openxmlformats.org/officeDocument/2006/math"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𝑉𝑎𝑟</m:t>
                    </m:r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acc>
                      <m:accPr>
                        <m:chr m:val="̂"/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𝑓</m:t>
                        </m:r>
                      </m:e>
                    </m:acc>
                    <m:r>
                      <a:rPr lang="ru-RU" sz="12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- дисперсия алгоритма. Различие ответов при обучении на разных наборах данных</a:t>
                </a:r>
              </a:p>
              <a:p>
                <a:pPr indent="450215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𝜎</m:t>
                        </m:r>
                      </m:e>
                      <m:sup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- ошибки, которые невозможно устранить (например, погрешности замеров данных)</a:t>
                </a:r>
              </a:p>
              <a:p>
                <a:pPr indent="450215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𝑓</m:t>
                        </m:r>
                      </m:e>
                    </m:acc>
                  </m:oMath>
                </a14:m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– обученный алгоритм случайного леса</a:t>
                </a:r>
                <a:endParaRPr lang="en-US" sz="1200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50215" algn="just">
                  <a:lnSpc>
                    <a:spcPct val="150000"/>
                  </a:lnSpc>
                  <a:tabLst>
                    <a:tab pos="450215" algn="l"/>
                  </a:tabLst>
                </a:pPr>
                <a:endParaRPr lang="en-US" sz="1200" dirty="0">
                  <a:solidFill>
                    <a:schemeClr val="tx2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4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Для построения отдельных деревьев в композиции критерий ошибки при каждом разбиении рассчитывался следующим образом:</a:t>
                </a:r>
                <a:endParaRPr lang="en-US" sz="1400" i="1" dirty="0">
                  <a:solidFill>
                    <a:schemeClr val="tx2"/>
                  </a:solidFill>
                  <a:effectLst/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r>
                      <a:rPr lang="ru-RU" sz="1100" i="1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𝑄</m:t>
                    </m:r>
                    <m:r>
                      <a:rPr lang="ru-RU" sz="1100" i="1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sSub>
                      <m:sSub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b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𝑚</m:t>
                        </m:r>
                      </m:sub>
                    </m:sSub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, 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𝑗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, 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𝑡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 = (</m:t>
                    </m:r>
                    <m:f>
                      <m:f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d>
                          <m:dPr>
                            <m:begChr m:val="|"/>
                            <m:endChr m:val="|"/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𝑋</m:t>
                                </m:r>
                              </m:e>
                              <m:sub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𝑙</m:t>
                                </m:r>
                              </m:sub>
                            </m:sSub>
                          </m:e>
                        </m:d>
                      </m:num>
                      <m:den>
                        <m:d>
                          <m:dPr>
                            <m:begChr m:val="|"/>
                            <m:endChr m:val="|"/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𝑋</m:t>
                                </m:r>
                              </m:e>
                              <m:sub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den>
                    </m:f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𝐻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sSub>
                      <m:sSub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b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𝑙</m:t>
                        </m:r>
                      </m:sub>
                    </m:sSub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+</m:t>
                    </m:r>
                    <m:f>
                      <m:f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d>
                          <m:dPr>
                            <m:begChr m:val="|"/>
                            <m:endChr m:val="|"/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𝑋</m:t>
                                </m:r>
                              </m:e>
                              <m:sub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𝑟</m:t>
                                </m:r>
                              </m:sub>
                            </m:sSub>
                          </m:e>
                        </m:d>
                      </m:num>
                      <m:den>
                        <m:d>
                          <m:dPr>
                            <m:begChr m:val="|"/>
                            <m:endChr m:val="|"/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𝑋</m:t>
                                </m:r>
                              </m:e>
                              <m:sub>
                                <m:r>
                                  <a:rPr lang="ru-RU" sz="1100" i="1">
                                    <a:solidFill>
                                      <a:schemeClr val="tx2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den>
                    </m:f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𝐻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sSub>
                      <m:sSub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b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𝑟</m:t>
                        </m:r>
                      </m:sub>
                    </m:sSub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) →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𝑚𝑖𝑛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ru-RU" sz="1100" i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ru-RU" sz="1100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где </a:t>
                </a:r>
                <a14:m>
                  <m:oMath xmlns:m="http://schemas.openxmlformats.org/officeDocument/2006/math"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𝐻</m:t>
                    </m:r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(</m:t>
                    </m:r>
                    <m:sSub>
                      <m:sSub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b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𝑙</m:t>
                        </m:r>
                      </m:sub>
                    </m:sSub>
                    <m:r>
                      <a:rPr lang="ru-RU" sz="1100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) </m:t>
                    </m:r>
                  </m:oMath>
                </a14:m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- критерий информативности, </a:t>
                </a: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𝑙</m:t>
                            </m:r>
                          </m:sub>
                        </m:sSub>
                      </m:e>
                    </m:d>
                  </m:oMath>
                </a14:m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- количество объектов, ушедших в левый лист, </a:t>
                </a: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𝑟</m:t>
                            </m:r>
                          </m:sub>
                        </m:sSub>
                      </m:e>
                    </m:d>
                  </m:oMath>
                </a14:m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- количество объектов, ушедших в правый лист. </a:t>
                </a: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ru-RU" sz="1100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  <m:t>𝑚</m:t>
                            </m:r>
                          </m:sub>
                        </m:sSub>
                      </m:e>
                    </m:d>
                  </m:oMath>
                </a14:m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- общее количество объектов текущего разбиения, </a:t>
                </a: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j - номер признака, по которому разбиваются данные, </a:t>
                </a: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1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t - значение признака, по которому бьется выборк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b>
                        <m:r>
                          <a:rPr lang="ru-RU" sz="11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𝑙</m:t>
                        </m:r>
                      </m:sub>
                    </m:sSub>
                    <m:r>
                      <a:rPr lang="en-US" sz="1100" b="0" i="0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,</m:t>
                    </m:r>
                  </m:oMath>
                </a14:m>
                <a:endParaRPr lang="en-US" sz="1200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b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- </a:t>
                </a: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двыборка</a:t>
                </a:r>
                <a:r>
                  <a:rPr lang="en-US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данная на вход</a:t>
                </a: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8BE6D7C-45DA-311A-F86B-CA23221458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932" y="905909"/>
                <a:ext cx="8195977" cy="5238614"/>
              </a:xfrm>
              <a:prstGeom prst="rect">
                <a:avLst/>
              </a:prstGeom>
              <a:blipFill>
                <a:blip r:embed="rId4"/>
                <a:stretch>
                  <a:fillRect l="-223" r="-14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image5.png">
            <a:extLst>
              <a:ext uri="{FF2B5EF4-FFF2-40B4-BE49-F238E27FC236}">
                <a16:creationId xmlns:a16="http://schemas.microsoft.com/office/drawing/2014/main" id="{8A42A3E4-2199-18A0-D6ED-A1DF63345095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>
          <a:xfrm>
            <a:off x="9027081" y="3525216"/>
            <a:ext cx="2780826" cy="1979117"/>
          </a:xfrm>
          <a:prstGeom prst="rect">
            <a:avLst/>
          </a:prstGeom>
          <a:ln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8F1534-8C28-64FE-691A-F35DCCBFFCA2}"/>
                  </a:ext>
                </a:extLst>
              </p:cNvPr>
              <p:cNvSpPr txBox="1"/>
              <p:nvPr/>
            </p:nvSpPr>
            <p:spPr>
              <a:xfrm>
                <a:off x="4966565" y="3695548"/>
                <a:ext cx="4326825" cy="26755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en-US" sz="14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	</a:t>
                </a:r>
                <a:r>
                  <a:rPr lang="ru-RU" sz="14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Критерий информативности Gini </a:t>
                </a:r>
              </a:p>
              <a:p>
                <a:r>
                  <a:rPr lang="ru-RU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Если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ru-RU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- доля объектов класса </a:t>
                </a:r>
                <a14:m>
                  <m:oMath xmlns:m="http://schemas.openxmlformats.org/officeDocument/2006/math">
                    <m:r>
                      <a:rPr lang="ru-RU" sz="12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ru-RU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в выборке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p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ru-RU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то рассчитывается он следующим образом</a:t>
                </a:r>
                <a:r>
                  <a:rPr lang="en-US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ru-RU" sz="12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изначальный класс объект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ru-RU" sz="12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ru-RU" sz="12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1200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12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lang="ru-RU" sz="12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= </m:t>
                      </m:r>
                      <m:f>
                        <m:fPr>
                          <m:ctrlP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begChr m:val="|"/>
                              <m:endChr m:val="|"/>
                              <m:ctrlP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ru-RU" sz="12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ru-RU" sz="12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p>
                                  <m:r>
                                    <a:rPr lang="ru-RU" sz="12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p>
                              </m:sSup>
                            </m:e>
                          </m:d>
                        </m:den>
                      </m:f>
                      <m:nary>
                        <m:naryPr>
                          <m:chr m:val="∑"/>
                          <m:limLoc m:val="undOvr"/>
                          <m:supHide m:val="on"/>
                          <m:ctrlP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sSup>
                            <m:sSupPr>
                              <m:ctrlP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p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</m:sSup>
                        </m:sub>
                        <m:sup/>
                        <m:e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[</m:t>
                          </m:r>
                          <m:sSub>
                            <m:sSubPr>
                              <m:ctrlP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]</m:t>
                          </m:r>
                        </m:e>
                      </m:nary>
                    </m:oMath>
                  </m:oMathPara>
                </a14:m>
                <a:endParaRPr lang="en-US" sz="1200" i="1" dirty="0">
                  <a:solidFill>
                    <a:schemeClr val="tx2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2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𝐻</m:t>
                      </m:r>
                      <m:r>
                        <a:rPr lang="ru-RU" sz="12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(</m:t>
                      </m:r>
                      <m:sSup>
                        <m:sSupPr>
                          <m:ctrlP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𝑋</m:t>
                          </m:r>
                        </m:e>
                        <m:sup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𝑛</m:t>
                          </m:r>
                        </m:sup>
                      </m:sSup>
                      <m:r>
                        <a:rPr lang="ru-RU" sz="12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) =</m:t>
                      </m:r>
                      <m:nary>
                        <m:naryPr>
                          <m:chr m:val="∑"/>
                          <m:ctrlP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𝑘</m:t>
                          </m:r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𝐾</m:t>
                          </m:r>
                        </m:sup>
                        <m:e>
                          <m:sSub>
                            <m:sSubPr>
                              <m:ctrlP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(1−</m:t>
                          </m:r>
                          <m:sSub>
                            <m:sSubPr>
                              <m:ctrlP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ru-RU" sz="12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ru-RU" sz="12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200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49580" algn="just">
                  <a:lnSpc>
                    <a:spcPct val="150000"/>
                  </a:lnSpc>
                  <a:tabLst>
                    <a:tab pos="450215" algn="l"/>
                  </a:tabLst>
                </a:pPr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Оптимум достигается в случае, когда объекты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𝑋</m:t>
                        </m:r>
                      </m:e>
                      <m:sup>
                        <m:r>
                          <a:rPr lang="ru-RU" sz="1200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ru-RU" sz="1200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все относятся к одному классу.</a:t>
                </a:r>
              </a:p>
              <a:p>
                <a:endParaRPr lang="ru-RU" sz="1200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8F1534-8C28-64FE-691A-F35DCCBFFC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6565" y="3695548"/>
                <a:ext cx="4326825" cy="2675541"/>
              </a:xfrm>
              <a:prstGeom prst="rect">
                <a:avLst/>
              </a:prstGeom>
              <a:blipFill>
                <a:blip r:embed="rId6"/>
                <a:stretch>
                  <a:fillRect l="-14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image18.png">
            <a:extLst>
              <a:ext uri="{FF2B5EF4-FFF2-40B4-BE49-F238E27FC236}">
                <a16:creationId xmlns:a16="http://schemas.microsoft.com/office/drawing/2014/main" id="{2E16BAB8-F86D-5F41-29BB-0563F2DD27B8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>
          <a:xfrm>
            <a:off x="9293390" y="793259"/>
            <a:ext cx="2248208" cy="1599248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68738413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Программно-алгоритмическая реализация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500679" y="1193806"/>
            <a:ext cx="6690457" cy="49500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Google Shape;146;p21">
            <a:extLst>
              <a:ext uri="{FF2B5EF4-FFF2-40B4-BE49-F238E27FC236}">
                <a16:creationId xmlns:a16="http://schemas.microsoft.com/office/drawing/2014/main" id="{7F93E2EA-A988-FD9A-C8F0-DCF199B308AB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428294" y="4335032"/>
            <a:ext cx="7194678" cy="20815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29;p19">
            <a:extLst>
              <a:ext uri="{FF2B5EF4-FFF2-40B4-BE49-F238E27FC236}">
                <a16:creationId xmlns:a16="http://schemas.microsoft.com/office/drawing/2014/main" id="{DB440CBD-AD9D-6D43-FC7A-E1E132F3F83C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95083" y="1249617"/>
            <a:ext cx="5515201" cy="28750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1;p19">
            <a:extLst>
              <a:ext uri="{FF2B5EF4-FFF2-40B4-BE49-F238E27FC236}">
                <a16:creationId xmlns:a16="http://schemas.microsoft.com/office/drawing/2014/main" id="{28699537-2D23-93CC-EC69-8B12FD09607A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096000" y="1110516"/>
            <a:ext cx="5515201" cy="30141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929461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972" y="5684115"/>
            <a:ext cx="2083238" cy="1167719"/>
          </a:xfrm>
          <a:prstGeom prst="rect">
            <a:avLst/>
          </a:prstGeom>
        </p:spPr>
      </p:pic>
      <p:sp>
        <p:nvSpPr>
          <p:cNvPr id="24" name="Линия">
            <a:extLst>
              <a:ext uri="{FF2B5EF4-FFF2-40B4-BE49-F238E27FC236}">
                <a16:creationId xmlns:a16="http://schemas.microsoft.com/office/drawing/2014/main" id="{D4A4CE90-EB18-514B-A3DB-3B0BE5191852}"/>
              </a:ext>
            </a:extLst>
          </p:cNvPr>
          <p:cNvSpPr/>
          <p:nvPr/>
        </p:nvSpPr>
        <p:spPr>
          <a:xfrm>
            <a:off x="0" y="724195"/>
            <a:ext cx="1197586" cy="0"/>
          </a:xfrm>
          <a:prstGeom prst="line">
            <a:avLst/>
          </a:prstGeom>
          <a:ln w="12700">
            <a:solidFill>
              <a:srgbClr val="009FDF"/>
            </a:solidFill>
          </a:ln>
        </p:spPr>
        <p:txBody>
          <a:bodyPr lIns="0" tIns="0" rIns="0" bIns="0"/>
          <a:lstStyle/>
          <a:p>
            <a:pPr marL="0" marR="0" lvl="0" indent="0" algn="l" defTabSz="3085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1088" b="0" i="0" u="none" strike="noStrike" kern="1200" cap="none" spc="0" normalizeH="0" baseline="0" noProof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5" name="Структура НИТУ «МИСиС»">
            <a:extLst>
              <a:ext uri="{FF2B5EF4-FFF2-40B4-BE49-F238E27FC236}">
                <a16:creationId xmlns:a16="http://schemas.microsoft.com/office/drawing/2014/main" id="{02397D82-1FDC-E74A-B7FB-BC1D0DF2E7AA}"/>
              </a:ext>
            </a:extLst>
          </p:cNvPr>
          <p:cNvSpPr txBox="1"/>
          <p:nvPr/>
        </p:nvSpPr>
        <p:spPr>
          <a:xfrm>
            <a:off x="1333686" y="557031"/>
            <a:ext cx="10474221" cy="348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lvl="0" indent="8572" defTabSz="472839">
              <a:defRPr sz="3000" cap="all">
                <a:solidFill>
                  <a:srgbClr val="009FDF"/>
                </a:solidFill>
                <a:latin typeface="Webnar DemiBold"/>
                <a:ea typeface="Webnar DemiBold"/>
                <a:cs typeface="Webnar DemiBold"/>
                <a:sym typeface="Webnar DemiBold"/>
              </a:defRPr>
            </a:pPr>
            <a:r>
              <a:rPr lang="ru-RU" sz="2267" cap="all" dirty="0">
                <a:solidFill>
                  <a:srgbClr val="009FDF"/>
                </a:solidFill>
                <a:latin typeface="Arial"/>
                <a:sym typeface="Webnar DemiBold"/>
              </a:rPr>
              <a:t>Программно-алгоритмическая реализация</a:t>
            </a:r>
            <a:endParaRPr kumimoji="0" lang="ru-RU" sz="2267" b="0" i="0" u="none" strike="noStrike" kern="1200" cap="all" spc="0" normalizeH="0" baseline="0" noProof="0" dirty="0">
              <a:ln>
                <a:noFill/>
              </a:ln>
              <a:solidFill>
                <a:srgbClr val="009FDF"/>
              </a:solidFill>
              <a:effectLst/>
              <a:uLnTx/>
              <a:uFillTx/>
              <a:latin typeface="Arial"/>
              <a:sym typeface="Webnar DemiBold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1257E0-6E21-2346-B67D-0A08FD806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28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814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Webnar" pitchFamily="2" charset="0"/>
                <a:ea typeface="+mn-ea"/>
                <a:cs typeface="+mn-cs"/>
              </a:rPr>
              <a:pPr marL="0" marR="0" lvl="0" indent="0" algn="r" defTabSz="4728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814" b="1" i="0" u="none" strike="noStrike" kern="120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Webnar" pitchFamily="2" charset="0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785FEE-07F2-4765-B80C-D92A26EC9F5D}"/>
              </a:ext>
            </a:extLst>
          </p:cNvPr>
          <p:cNvSpPr/>
          <p:nvPr/>
        </p:nvSpPr>
        <p:spPr>
          <a:xfrm>
            <a:off x="500679" y="1327813"/>
            <a:ext cx="6690457" cy="49500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72839">
              <a:spcAft>
                <a:spcPts val="544"/>
              </a:spcAft>
              <a:buFont typeface="Arial"/>
              <a:buNone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2669" lvl="1" indent="-162669" algn="just" defTabSz="472839">
              <a:spcAft>
                <a:spcPts val="544"/>
              </a:spcAft>
              <a:buClr>
                <a:schemeClr val="tx1"/>
              </a:buClr>
              <a:buFont typeface="Lucida Grande"/>
              <a:buChar char="●"/>
            </a:pPr>
            <a:endParaRPr 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C3A2BBA-CB45-CDF1-1802-182AEA2405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231" y="1174245"/>
            <a:ext cx="4212345" cy="473355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828974C-A110-5040-A016-7046169301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435184"/>
            <a:ext cx="3602171" cy="42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08631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SIS">
  <a:themeElements>
    <a:clrScheme name="MISIS">
      <a:dk1>
        <a:srgbClr val="009FDF"/>
      </a:dk1>
      <a:lt1>
        <a:sysClr val="window" lastClr="F2F2F3"/>
      </a:lt1>
      <a:dk2>
        <a:srgbClr val="4C4C4C"/>
      </a:dk2>
      <a:lt2>
        <a:srgbClr val="FFFFFF"/>
      </a:lt2>
      <a:accent1>
        <a:srgbClr val="F65275"/>
      </a:accent1>
      <a:accent2>
        <a:srgbClr val="407EC9"/>
      </a:accent2>
      <a:accent3>
        <a:srgbClr val="F2A900"/>
      </a:accent3>
      <a:accent4>
        <a:srgbClr val="C04C36"/>
      </a:accent4>
      <a:accent5>
        <a:srgbClr val="6CC24A"/>
      </a:accent5>
      <a:accent6>
        <a:srgbClr val="009CA6"/>
      </a:accent6>
      <a:hlink>
        <a:srgbClr val="0033A0"/>
      </a:hlink>
      <a:folHlink>
        <a:srgbClr val="00187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MISIS">
  <a:themeElements>
    <a:clrScheme name="MISIS">
      <a:dk1>
        <a:srgbClr val="009FDF"/>
      </a:dk1>
      <a:lt1>
        <a:sysClr val="window" lastClr="F2F2F3"/>
      </a:lt1>
      <a:dk2>
        <a:srgbClr val="4C4C4C"/>
      </a:dk2>
      <a:lt2>
        <a:srgbClr val="FFFFFF"/>
      </a:lt2>
      <a:accent1>
        <a:srgbClr val="F65275"/>
      </a:accent1>
      <a:accent2>
        <a:srgbClr val="407EC9"/>
      </a:accent2>
      <a:accent3>
        <a:srgbClr val="F2A900"/>
      </a:accent3>
      <a:accent4>
        <a:srgbClr val="C04C36"/>
      </a:accent4>
      <a:accent5>
        <a:srgbClr val="6CC24A"/>
      </a:accent5>
      <a:accent6>
        <a:srgbClr val="009CA6"/>
      </a:accent6>
      <a:hlink>
        <a:srgbClr val="0033A0"/>
      </a:hlink>
      <a:folHlink>
        <a:srgbClr val="00187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494949"/>
      </a:dk1>
      <a:lt1>
        <a:sysClr val="window" lastClr="F2F2F3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7</TotalTime>
  <Words>1462</Words>
  <Application>Microsoft Office PowerPoint</Application>
  <PresentationFormat>Широкоэкранный</PresentationFormat>
  <Paragraphs>181</Paragraphs>
  <Slides>11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-apple-system</vt:lpstr>
      <vt:lpstr>Arial</vt:lpstr>
      <vt:lpstr>Calibri</vt:lpstr>
      <vt:lpstr>Cambria Math</vt:lpstr>
      <vt:lpstr>Helvetica</vt:lpstr>
      <vt:lpstr>Lucida Grande</vt:lpstr>
      <vt:lpstr>Times New Roman</vt:lpstr>
      <vt:lpstr>Webnar</vt:lpstr>
      <vt:lpstr>Wingdings</vt:lpstr>
      <vt:lpstr>MISIS</vt:lpstr>
      <vt:lpstr>2_MISIS</vt:lpstr>
      <vt:lpstr>think-cell Slide</vt:lpstr>
      <vt:lpstr>Разработка модели идентификации целенаправленной физической активности человека при выполнении производственных работ  Автор: студент группы БИВТ-18-4  Кириллов П. С. Руководитель: старший преподаватель Дерябин С.А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 итогах выполнения программы повышения конкурентоспособности 5/100 в 2018 году и  задачах по реализации ППК в 2019 году</dc:title>
  <dc:creator>Наталия Самосудова</dc:creator>
  <cp:lastModifiedBy>Кириллов Павел Сергеевич</cp:lastModifiedBy>
  <cp:revision>117</cp:revision>
  <dcterms:created xsi:type="dcterms:W3CDTF">2020-06-08T14:21:48Z</dcterms:created>
  <dcterms:modified xsi:type="dcterms:W3CDTF">2022-05-27T18:10:30Z</dcterms:modified>
</cp:coreProperties>
</file>